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18"/>
  </p:notesMasterIdLst>
  <p:handoutMasterIdLst>
    <p:handoutMasterId r:id="rId19"/>
  </p:handoutMasterIdLst>
  <p:sldIdLst>
    <p:sldId id="303" r:id="rId2"/>
    <p:sldId id="305" r:id="rId3"/>
    <p:sldId id="349" r:id="rId4"/>
    <p:sldId id="337" r:id="rId5"/>
    <p:sldId id="358" r:id="rId6"/>
    <p:sldId id="341" r:id="rId7"/>
    <p:sldId id="342" r:id="rId8"/>
    <p:sldId id="351" r:id="rId9"/>
    <p:sldId id="334" r:id="rId10"/>
    <p:sldId id="346" r:id="rId11"/>
    <p:sldId id="357" r:id="rId12"/>
    <p:sldId id="353" r:id="rId13"/>
    <p:sldId id="310" r:id="rId14"/>
    <p:sldId id="347" r:id="rId15"/>
    <p:sldId id="354" r:id="rId16"/>
    <p:sldId id="330" r:id="rId17"/>
  </p:sldIdLst>
  <p:sldSz cx="12192000" cy="6858000"/>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CD1BD4-72FF-734A-880D-109CCBD07DB0}" v="124" dt="2020-02-29T15:32:18.1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50000" autoAdjust="0"/>
  </p:normalViewPr>
  <p:slideViewPr>
    <p:cSldViewPr snapToGrid="0">
      <p:cViewPr varScale="1">
        <p:scale>
          <a:sx n="127" d="100"/>
          <a:sy n="127" d="100"/>
        </p:scale>
        <p:origin x="512" y="192"/>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ata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ata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diagrams/_rels/data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ata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diagrams/_rels/drawing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diagrams/_rels/drawing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8BFEAB-D90F-4895-83C0-8000182CFC60}"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B729AADB-00CC-4ED8-8377-D707EC0C5777}">
      <dgm:prSet/>
      <dgm:spPr/>
      <dgm:t>
        <a:bodyPr/>
        <a:lstStyle/>
        <a:p>
          <a:pPr>
            <a:lnSpc>
              <a:spcPct val="100000"/>
            </a:lnSpc>
            <a:defRPr cap="all"/>
          </a:pPr>
          <a:r>
            <a:rPr lang="en-US" dirty="0"/>
            <a:t>LIVELIHOODS </a:t>
          </a:r>
        </a:p>
      </dgm:t>
    </dgm:pt>
    <dgm:pt modelId="{07637733-7A11-4BDE-A6F0-D7065089CA7F}" type="parTrans" cxnId="{4406BD49-77B2-4551-8E31-517DBA49C4CE}">
      <dgm:prSet/>
      <dgm:spPr/>
      <dgm:t>
        <a:bodyPr/>
        <a:lstStyle/>
        <a:p>
          <a:endParaRPr lang="en-US"/>
        </a:p>
      </dgm:t>
    </dgm:pt>
    <dgm:pt modelId="{E4624F36-160C-4D5E-9007-4471F8D5D502}" type="sibTrans" cxnId="{4406BD49-77B2-4551-8E31-517DBA49C4CE}">
      <dgm:prSet/>
      <dgm:spPr/>
      <dgm:t>
        <a:bodyPr/>
        <a:lstStyle/>
        <a:p>
          <a:endParaRPr lang="en-US"/>
        </a:p>
      </dgm:t>
    </dgm:pt>
    <dgm:pt modelId="{DEC0AFD0-E0C3-4E9C-A7D2-6AA03C6B609E}">
      <dgm:prSet/>
      <dgm:spPr/>
      <dgm:t>
        <a:bodyPr/>
        <a:lstStyle/>
        <a:p>
          <a:pPr>
            <a:lnSpc>
              <a:spcPct val="100000"/>
            </a:lnSpc>
            <a:defRPr cap="all"/>
          </a:pPr>
          <a:r>
            <a:rPr lang="en-US" dirty="0"/>
            <a:t>EDUCATION</a:t>
          </a:r>
        </a:p>
      </dgm:t>
    </dgm:pt>
    <dgm:pt modelId="{968B39AB-3E56-48A0-ACCA-145DD51DD8E6}" type="parTrans" cxnId="{440F0599-AFC1-438E-98D5-6D5BBF232D92}">
      <dgm:prSet/>
      <dgm:spPr/>
      <dgm:t>
        <a:bodyPr/>
        <a:lstStyle/>
        <a:p>
          <a:endParaRPr lang="en-US"/>
        </a:p>
      </dgm:t>
    </dgm:pt>
    <dgm:pt modelId="{4B3F8691-09FA-4DD6-9A6C-D429441D99F1}" type="sibTrans" cxnId="{440F0599-AFC1-438E-98D5-6D5BBF232D92}">
      <dgm:prSet/>
      <dgm:spPr/>
      <dgm:t>
        <a:bodyPr/>
        <a:lstStyle/>
        <a:p>
          <a:endParaRPr lang="en-US"/>
        </a:p>
      </dgm:t>
    </dgm:pt>
    <dgm:pt modelId="{48F3ED62-7F6F-4184-8DB0-541494C834A1}">
      <dgm:prSet/>
      <dgm:spPr/>
      <dgm:t>
        <a:bodyPr/>
        <a:lstStyle/>
        <a:p>
          <a:pPr>
            <a:lnSpc>
              <a:spcPct val="100000"/>
            </a:lnSpc>
            <a:defRPr cap="all"/>
          </a:pPr>
          <a:r>
            <a:rPr lang="en-US" dirty="0"/>
            <a:t>health</a:t>
          </a:r>
        </a:p>
      </dgm:t>
    </dgm:pt>
    <dgm:pt modelId="{3AEF99B5-8C73-4F71-81EC-9C0940DF829D}" type="parTrans" cxnId="{7F32DD6B-519B-4147-8290-B6F29AC5F8DC}">
      <dgm:prSet/>
      <dgm:spPr/>
      <dgm:t>
        <a:bodyPr/>
        <a:lstStyle/>
        <a:p>
          <a:endParaRPr lang="en-US"/>
        </a:p>
      </dgm:t>
    </dgm:pt>
    <dgm:pt modelId="{88E69033-296F-4134-B62B-95FAF1E24A6D}" type="sibTrans" cxnId="{7F32DD6B-519B-4147-8290-B6F29AC5F8DC}">
      <dgm:prSet/>
      <dgm:spPr/>
      <dgm:t>
        <a:bodyPr/>
        <a:lstStyle/>
        <a:p>
          <a:endParaRPr lang="en-US"/>
        </a:p>
      </dgm:t>
    </dgm:pt>
    <dgm:pt modelId="{F37CA7E9-5D60-4887-B85F-C947DF54BD6F}">
      <dgm:prSet/>
      <dgm:spPr/>
      <dgm:t>
        <a:bodyPr/>
        <a:lstStyle/>
        <a:p>
          <a:pPr>
            <a:lnSpc>
              <a:spcPct val="100000"/>
            </a:lnSpc>
            <a:defRPr cap="all"/>
          </a:pPr>
          <a:r>
            <a:rPr lang="en-US" dirty="0"/>
            <a:t>Disaster Relief</a:t>
          </a:r>
        </a:p>
      </dgm:t>
    </dgm:pt>
    <dgm:pt modelId="{36CC30F5-177F-4D79-972A-202C0487BA1B}" type="parTrans" cxnId="{B3F98B8B-B1E7-4689-819C-2360FBCDC87E}">
      <dgm:prSet/>
      <dgm:spPr/>
      <dgm:t>
        <a:bodyPr/>
        <a:lstStyle/>
        <a:p>
          <a:endParaRPr lang="en-US"/>
        </a:p>
      </dgm:t>
    </dgm:pt>
    <dgm:pt modelId="{E8D6E3FE-8510-410B-832F-2A9E23228A7A}" type="sibTrans" cxnId="{B3F98B8B-B1E7-4689-819C-2360FBCDC87E}">
      <dgm:prSet/>
      <dgm:spPr/>
      <dgm:t>
        <a:bodyPr/>
        <a:lstStyle/>
        <a:p>
          <a:endParaRPr lang="en-US"/>
        </a:p>
      </dgm:t>
    </dgm:pt>
    <dgm:pt modelId="{14350BCF-69D0-CC47-8F6F-E43DF8AB9E65}">
      <dgm:prSet/>
      <dgm:spPr/>
      <dgm:t>
        <a:bodyPr/>
        <a:lstStyle/>
        <a:p>
          <a:pPr>
            <a:defRPr cap="all"/>
          </a:pPr>
          <a:r>
            <a:rPr lang="en-US" dirty="0"/>
            <a:t>Innovation</a:t>
          </a:r>
        </a:p>
      </dgm:t>
    </dgm:pt>
    <dgm:pt modelId="{02CA314B-5348-E14E-95AD-AAE0910433EC}" type="parTrans" cxnId="{816CDCC6-6EC8-4C4E-9036-B4C6DE4B600C}">
      <dgm:prSet/>
      <dgm:spPr/>
      <dgm:t>
        <a:bodyPr/>
        <a:lstStyle/>
        <a:p>
          <a:endParaRPr lang="en-US"/>
        </a:p>
      </dgm:t>
    </dgm:pt>
    <dgm:pt modelId="{0F8040AF-FEA3-F044-8832-3E809865B010}" type="sibTrans" cxnId="{816CDCC6-6EC8-4C4E-9036-B4C6DE4B600C}">
      <dgm:prSet/>
      <dgm:spPr/>
      <dgm:t>
        <a:bodyPr/>
        <a:lstStyle/>
        <a:p>
          <a:endParaRPr lang="en-US"/>
        </a:p>
      </dgm:t>
    </dgm:pt>
    <dgm:pt modelId="{0CA6FFAB-BF04-4501-8255-7D729F5BB065}" type="pres">
      <dgm:prSet presAssocID="{0B8BFEAB-D90F-4895-83C0-8000182CFC60}" presName="root" presStyleCnt="0">
        <dgm:presLayoutVars>
          <dgm:dir/>
          <dgm:resizeHandles val="exact"/>
        </dgm:presLayoutVars>
      </dgm:prSet>
      <dgm:spPr/>
    </dgm:pt>
    <dgm:pt modelId="{A9B72F8E-2460-4935-861E-965983905084}" type="pres">
      <dgm:prSet presAssocID="{B729AADB-00CC-4ED8-8377-D707EC0C5777}" presName="compNode" presStyleCnt="0"/>
      <dgm:spPr/>
    </dgm:pt>
    <dgm:pt modelId="{6C18F7A5-C8EB-49F8-B178-39A1EFB1808A}" type="pres">
      <dgm:prSet presAssocID="{B729AADB-00CC-4ED8-8377-D707EC0C5777}" presName="iconBgRect" presStyleLbl="bgShp" presStyleIdx="0" presStyleCnt="5"/>
      <dgm:spPr/>
    </dgm:pt>
    <dgm:pt modelId="{C8357BD6-F818-4C12-A7FE-518D9C9C68AE}" type="pres">
      <dgm:prSet presAssocID="{B729AADB-00CC-4ED8-8377-D707EC0C5777}" presName="iconRect" presStyleLbl="node1" presStyleIdx="0" presStyleCnt="5"/>
      <dgm:spPr>
        <a:blipFill rotWithShape="1">
          <a:blip xmlns:r="http://schemas.openxmlformats.org/officeDocument/2006/relationships" r:embed="rId1"/>
          <a:stretch>
            <a:fillRect/>
          </a:stretch>
        </a:blipFill>
        <a:ln>
          <a:noFill/>
        </a:ln>
      </dgm:spPr>
      <dgm:extLst>
        <a:ext uri="{E40237B7-FDA0-4F09-8148-C483321AD2D9}">
          <dgm14:cNvPr xmlns:dgm14="http://schemas.microsoft.com/office/drawing/2010/diagram" id="0" name="" descr="Checkmark"/>
        </a:ext>
      </dgm:extLst>
    </dgm:pt>
    <dgm:pt modelId="{E100BB61-DA55-4F6A-9AE0-B17B070FDB39}" type="pres">
      <dgm:prSet presAssocID="{B729AADB-00CC-4ED8-8377-D707EC0C5777}" presName="spaceRect" presStyleCnt="0"/>
      <dgm:spPr/>
    </dgm:pt>
    <dgm:pt modelId="{C05D03CD-EFE7-4664-9967-D70A72AE5CB4}" type="pres">
      <dgm:prSet presAssocID="{B729AADB-00CC-4ED8-8377-D707EC0C5777}" presName="textRect" presStyleLbl="revTx" presStyleIdx="0" presStyleCnt="5">
        <dgm:presLayoutVars>
          <dgm:chMax val="1"/>
          <dgm:chPref val="1"/>
        </dgm:presLayoutVars>
      </dgm:prSet>
      <dgm:spPr/>
    </dgm:pt>
    <dgm:pt modelId="{803459D4-622E-4C03-8394-3D288EE4D283}" type="pres">
      <dgm:prSet presAssocID="{E4624F36-160C-4D5E-9007-4471F8D5D502}" presName="sibTrans" presStyleCnt="0"/>
      <dgm:spPr/>
    </dgm:pt>
    <dgm:pt modelId="{447049FD-DFF7-4FC8-8CF3-6E31DAD867F0}" type="pres">
      <dgm:prSet presAssocID="{DEC0AFD0-E0C3-4E9C-A7D2-6AA03C6B609E}" presName="compNode" presStyleCnt="0"/>
      <dgm:spPr/>
    </dgm:pt>
    <dgm:pt modelId="{0A0DB4AA-84C1-472D-A357-202787D832FE}" type="pres">
      <dgm:prSet presAssocID="{DEC0AFD0-E0C3-4E9C-A7D2-6AA03C6B609E}" presName="iconBgRect" presStyleLbl="bgShp" presStyleIdx="1" presStyleCnt="5"/>
      <dgm:spPr/>
    </dgm:pt>
    <dgm:pt modelId="{2AA27A57-73DC-4EEC-BCDD-2CCED2FB3100}" type="pres">
      <dgm:prSet presAssocID="{DEC0AFD0-E0C3-4E9C-A7D2-6AA03C6B609E}" presName="iconRect" presStyleLbl="node1" presStyleIdx="1" presStyleCnt="5"/>
      <dgm:spPr>
        <a:blipFill rotWithShape="1">
          <a:blip xmlns:r="http://schemas.openxmlformats.org/officeDocument/2006/relationships" r:embed="rId2"/>
          <a:stretch>
            <a:fillRect/>
          </a:stretch>
        </a:blipFill>
        <a:ln>
          <a:noFill/>
        </a:ln>
      </dgm:spPr>
      <dgm:extLst>
        <a:ext uri="{E40237B7-FDA0-4F09-8148-C483321AD2D9}">
          <dgm14:cNvPr xmlns:dgm14="http://schemas.microsoft.com/office/drawing/2010/diagram" id="0" name="" descr="Books"/>
        </a:ext>
      </dgm:extLst>
    </dgm:pt>
    <dgm:pt modelId="{80EB4388-A61A-4A07-BB8C-9BED68426607}" type="pres">
      <dgm:prSet presAssocID="{DEC0AFD0-E0C3-4E9C-A7D2-6AA03C6B609E}" presName="spaceRect" presStyleCnt="0"/>
      <dgm:spPr/>
    </dgm:pt>
    <dgm:pt modelId="{0F7B082E-4FE9-4917-B329-641247BB1A4C}" type="pres">
      <dgm:prSet presAssocID="{DEC0AFD0-E0C3-4E9C-A7D2-6AA03C6B609E}" presName="textRect" presStyleLbl="revTx" presStyleIdx="1" presStyleCnt="5">
        <dgm:presLayoutVars>
          <dgm:chMax val="1"/>
          <dgm:chPref val="1"/>
        </dgm:presLayoutVars>
      </dgm:prSet>
      <dgm:spPr/>
    </dgm:pt>
    <dgm:pt modelId="{0E7F49AB-D84D-49E8-88D3-3AD98196D8D0}" type="pres">
      <dgm:prSet presAssocID="{4B3F8691-09FA-4DD6-9A6C-D429441D99F1}" presName="sibTrans" presStyleCnt="0"/>
      <dgm:spPr/>
    </dgm:pt>
    <dgm:pt modelId="{F980D427-89C8-4DBA-B809-555BAC7478D4}" type="pres">
      <dgm:prSet presAssocID="{48F3ED62-7F6F-4184-8DB0-541494C834A1}" presName="compNode" presStyleCnt="0"/>
      <dgm:spPr/>
    </dgm:pt>
    <dgm:pt modelId="{4DDB662E-9C5A-443E-85EB-38C79425561F}" type="pres">
      <dgm:prSet presAssocID="{48F3ED62-7F6F-4184-8DB0-541494C834A1}" presName="iconBgRect" presStyleLbl="bgShp" presStyleIdx="2" presStyleCnt="5"/>
      <dgm:spPr/>
    </dgm:pt>
    <dgm:pt modelId="{C5FF1364-4234-4973-B929-0939DC8B1E0A}" type="pres">
      <dgm:prSet presAssocID="{48F3ED62-7F6F-4184-8DB0-541494C834A1}" presName="iconRect" presStyleLbl="node1" presStyleIdx="2" presStyleCnt="5"/>
      <dgm:spPr>
        <a:blipFill rotWithShape="1">
          <a:blip xmlns:r="http://schemas.openxmlformats.org/officeDocument/2006/relationships" r:embed="rId3"/>
          <a:stretch>
            <a:fillRect/>
          </a:stretch>
        </a:blipFill>
        <a:ln>
          <a:noFill/>
        </a:ln>
      </dgm:spPr>
    </dgm:pt>
    <dgm:pt modelId="{F4BB99D6-8DD3-49AD-A835-20526F79F8FA}" type="pres">
      <dgm:prSet presAssocID="{48F3ED62-7F6F-4184-8DB0-541494C834A1}" presName="spaceRect" presStyleCnt="0"/>
      <dgm:spPr/>
    </dgm:pt>
    <dgm:pt modelId="{24F2ACF0-E2C4-4561-8807-4027546F77C0}" type="pres">
      <dgm:prSet presAssocID="{48F3ED62-7F6F-4184-8DB0-541494C834A1}" presName="textRect" presStyleLbl="revTx" presStyleIdx="2" presStyleCnt="5">
        <dgm:presLayoutVars>
          <dgm:chMax val="1"/>
          <dgm:chPref val="1"/>
        </dgm:presLayoutVars>
      </dgm:prSet>
      <dgm:spPr/>
    </dgm:pt>
    <dgm:pt modelId="{665FF9BE-2D5D-4BB9-A012-283CE83F018F}" type="pres">
      <dgm:prSet presAssocID="{88E69033-296F-4134-B62B-95FAF1E24A6D}" presName="sibTrans" presStyleCnt="0"/>
      <dgm:spPr/>
    </dgm:pt>
    <dgm:pt modelId="{3B5C2048-837C-4333-A8FC-78146367939A}" type="pres">
      <dgm:prSet presAssocID="{F37CA7E9-5D60-4887-B85F-C947DF54BD6F}" presName="compNode" presStyleCnt="0"/>
      <dgm:spPr/>
    </dgm:pt>
    <dgm:pt modelId="{BC570467-27CD-4FBB-9FB0-BED5FF34AD69}" type="pres">
      <dgm:prSet presAssocID="{F37CA7E9-5D60-4887-B85F-C947DF54BD6F}" presName="iconBgRect" presStyleLbl="bgShp" presStyleIdx="3" presStyleCnt="5">
        <dgm:style>
          <a:lnRef idx="0">
            <a:schemeClr val="accent1"/>
          </a:lnRef>
          <a:fillRef idx="3">
            <a:schemeClr val="accent1"/>
          </a:fillRef>
          <a:effectRef idx="3">
            <a:schemeClr val="accent1"/>
          </a:effectRef>
          <a:fontRef idx="minor">
            <a:schemeClr val="lt1"/>
          </a:fontRef>
        </dgm:style>
      </dgm:prSet>
      <dgm:spPr/>
    </dgm:pt>
    <dgm:pt modelId="{FEE21511-25ED-4548-860A-A4D6B7FEE006}" type="pres">
      <dgm:prSet presAssocID="{F37CA7E9-5D60-4887-B85F-C947DF54BD6F}" presName="iconRect" presStyleLbl="node1" presStyleIdx="3" presStyleCnt="5"/>
      <dgm:spPr>
        <a:blipFill rotWithShape="1">
          <a:blip xmlns:r="http://schemas.openxmlformats.org/officeDocument/2006/relationships" r:embed="rId4"/>
          <a:stretch>
            <a:fillRect/>
          </a:stretch>
        </a:blipFill>
        <a:ln>
          <a:noFill/>
        </a:ln>
      </dgm:spPr>
    </dgm:pt>
    <dgm:pt modelId="{EFF2ABAE-AC99-4268-BEF0-4013CB400356}" type="pres">
      <dgm:prSet presAssocID="{F37CA7E9-5D60-4887-B85F-C947DF54BD6F}" presName="spaceRect" presStyleCnt="0"/>
      <dgm:spPr/>
    </dgm:pt>
    <dgm:pt modelId="{72D9B868-BFBE-4871-9AB2-277C67000354}" type="pres">
      <dgm:prSet presAssocID="{F37CA7E9-5D60-4887-B85F-C947DF54BD6F}" presName="textRect" presStyleLbl="revTx" presStyleIdx="3" presStyleCnt="5">
        <dgm:presLayoutVars>
          <dgm:chMax val="1"/>
          <dgm:chPref val="1"/>
        </dgm:presLayoutVars>
      </dgm:prSet>
      <dgm:spPr/>
    </dgm:pt>
    <dgm:pt modelId="{1D5F372D-D1D7-B147-A3A5-288665DF5135}" type="pres">
      <dgm:prSet presAssocID="{E8D6E3FE-8510-410B-832F-2A9E23228A7A}" presName="sibTrans" presStyleCnt="0"/>
      <dgm:spPr/>
    </dgm:pt>
    <dgm:pt modelId="{8F3B022A-3325-614C-A0A1-B9A49C1B0F90}" type="pres">
      <dgm:prSet presAssocID="{14350BCF-69D0-CC47-8F6F-E43DF8AB9E65}" presName="compNode" presStyleCnt="0"/>
      <dgm:spPr/>
    </dgm:pt>
    <dgm:pt modelId="{4D02DBBE-B8AE-3743-9D94-CAB662E3FF54}" type="pres">
      <dgm:prSet presAssocID="{14350BCF-69D0-CC47-8F6F-E43DF8AB9E65}" presName="iconBgRect" presStyleLbl="bgShp" presStyleIdx="4" presStyleCnt="5"/>
      <dgm:spPr/>
    </dgm:pt>
    <dgm:pt modelId="{08A36BD7-557A-D442-8874-D06950E41123}" type="pres">
      <dgm:prSet presAssocID="{14350BCF-69D0-CC47-8F6F-E43DF8AB9E65}" presName="iconRect" presStyleLbl="node1" presStyleIdx="4" presStyleCnt="5"/>
      <dgm:spPr>
        <a:blipFill rotWithShape="1">
          <a:blip xmlns:r="http://schemas.openxmlformats.org/officeDocument/2006/relationships" r:embed="rId5"/>
          <a:stretch>
            <a:fillRect/>
          </a:stretch>
        </a:blipFill>
      </dgm:spPr>
    </dgm:pt>
    <dgm:pt modelId="{1D185FAC-6CDA-D64A-AB9D-F661E235E7BF}" type="pres">
      <dgm:prSet presAssocID="{14350BCF-69D0-CC47-8F6F-E43DF8AB9E65}" presName="spaceRect" presStyleCnt="0"/>
      <dgm:spPr/>
    </dgm:pt>
    <dgm:pt modelId="{E5A79E55-8FC3-8C4A-92A0-2B33B964789A}" type="pres">
      <dgm:prSet presAssocID="{14350BCF-69D0-CC47-8F6F-E43DF8AB9E65}" presName="textRect" presStyleLbl="revTx" presStyleIdx="4" presStyleCnt="5">
        <dgm:presLayoutVars>
          <dgm:chMax val="1"/>
          <dgm:chPref val="1"/>
        </dgm:presLayoutVars>
      </dgm:prSet>
      <dgm:spPr/>
    </dgm:pt>
  </dgm:ptLst>
  <dgm:cxnLst>
    <dgm:cxn modelId="{73347A40-F712-B349-9D29-21993B8C3075}" type="presOf" srcId="{48F3ED62-7F6F-4184-8DB0-541494C834A1}" destId="{24F2ACF0-E2C4-4561-8807-4027546F77C0}" srcOrd="0" destOrd="0" presId="urn:microsoft.com/office/officeart/2018/5/layout/IconCircleLabelList"/>
    <dgm:cxn modelId="{4406BD49-77B2-4551-8E31-517DBA49C4CE}" srcId="{0B8BFEAB-D90F-4895-83C0-8000182CFC60}" destId="{B729AADB-00CC-4ED8-8377-D707EC0C5777}" srcOrd="0" destOrd="0" parTransId="{07637733-7A11-4BDE-A6F0-D7065089CA7F}" sibTransId="{E4624F36-160C-4D5E-9007-4471F8D5D502}"/>
    <dgm:cxn modelId="{4FD94F4E-D164-D14F-9A0D-EDE417AFF969}" type="presOf" srcId="{0B8BFEAB-D90F-4895-83C0-8000182CFC60}" destId="{0CA6FFAB-BF04-4501-8255-7D729F5BB065}" srcOrd="0" destOrd="0" presId="urn:microsoft.com/office/officeart/2018/5/layout/IconCircleLabelList"/>
    <dgm:cxn modelId="{895BC75E-927E-3B48-8EF1-26568BE78513}" type="presOf" srcId="{14350BCF-69D0-CC47-8F6F-E43DF8AB9E65}" destId="{E5A79E55-8FC3-8C4A-92A0-2B33B964789A}" srcOrd="0" destOrd="0" presId="urn:microsoft.com/office/officeart/2018/5/layout/IconCircleLabelList"/>
    <dgm:cxn modelId="{7F32DD6B-519B-4147-8290-B6F29AC5F8DC}" srcId="{0B8BFEAB-D90F-4895-83C0-8000182CFC60}" destId="{48F3ED62-7F6F-4184-8DB0-541494C834A1}" srcOrd="2" destOrd="0" parTransId="{3AEF99B5-8C73-4F71-81EC-9C0940DF829D}" sibTransId="{88E69033-296F-4134-B62B-95FAF1E24A6D}"/>
    <dgm:cxn modelId="{B3F98B8B-B1E7-4689-819C-2360FBCDC87E}" srcId="{0B8BFEAB-D90F-4895-83C0-8000182CFC60}" destId="{F37CA7E9-5D60-4887-B85F-C947DF54BD6F}" srcOrd="3" destOrd="0" parTransId="{36CC30F5-177F-4D79-972A-202C0487BA1B}" sibTransId="{E8D6E3FE-8510-410B-832F-2A9E23228A7A}"/>
    <dgm:cxn modelId="{440F0599-AFC1-438E-98D5-6D5BBF232D92}" srcId="{0B8BFEAB-D90F-4895-83C0-8000182CFC60}" destId="{DEC0AFD0-E0C3-4E9C-A7D2-6AA03C6B609E}" srcOrd="1" destOrd="0" parTransId="{968B39AB-3E56-48A0-ACCA-145DD51DD8E6}" sibTransId="{4B3F8691-09FA-4DD6-9A6C-D429441D99F1}"/>
    <dgm:cxn modelId="{144F7DB9-DF84-C24F-9393-3D0A23ED57FD}" type="presOf" srcId="{B729AADB-00CC-4ED8-8377-D707EC0C5777}" destId="{C05D03CD-EFE7-4664-9967-D70A72AE5CB4}" srcOrd="0" destOrd="0" presId="urn:microsoft.com/office/officeart/2018/5/layout/IconCircleLabelList"/>
    <dgm:cxn modelId="{816CDCC6-6EC8-4C4E-9036-B4C6DE4B600C}" srcId="{0B8BFEAB-D90F-4895-83C0-8000182CFC60}" destId="{14350BCF-69D0-CC47-8F6F-E43DF8AB9E65}" srcOrd="4" destOrd="0" parTransId="{02CA314B-5348-E14E-95AD-AAE0910433EC}" sibTransId="{0F8040AF-FEA3-F044-8832-3E809865B010}"/>
    <dgm:cxn modelId="{EBFAB7DD-7DB8-7A4A-BD74-87C29A6176ED}" type="presOf" srcId="{F37CA7E9-5D60-4887-B85F-C947DF54BD6F}" destId="{72D9B868-BFBE-4871-9AB2-277C67000354}" srcOrd="0" destOrd="0" presId="urn:microsoft.com/office/officeart/2018/5/layout/IconCircleLabelList"/>
    <dgm:cxn modelId="{EB96EBF2-C068-9040-A455-9958FB6B4B48}" type="presOf" srcId="{DEC0AFD0-E0C3-4E9C-A7D2-6AA03C6B609E}" destId="{0F7B082E-4FE9-4917-B329-641247BB1A4C}" srcOrd="0" destOrd="0" presId="urn:microsoft.com/office/officeart/2018/5/layout/IconCircleLabelList"/>
    <dgm:cxn modelId="{3D44058F-1FD3-884A-B45C-D5A72FFEC564}" type="presParOf" srcId="{0CA6FFAB-BF04-4501-8255-7D729F5BB065}" destId="{A9B72F8E-2460-4935-861E-965983905084}" srcOrd="0" destOrd="0" presId="urn:microsoft.com/office/officeart/2018/5/layout/IconCircleLabelList"/>
    <dgm:cxn modelId="{A241BCED-F529-1945-B5CE-9FA56F03AD74}" type="presParOf" srcId="{A9B72F8E-2460-4935-861E-965983905084}" destId="{6C18F7A5-C8EB-49F8-B178-39A1EFB1808A}" srcOrd="0" destOrd="0" presId="urn:microsoft.com/office/officeart/2018/5/layout/IconCircleLabelList"/>
    <dgm:cxn modelId="{A01D86D8-7CAE-E448-9F70-5682FBF273A2}" type="presParOf" srcId="{A9B72F8E-2460-4935-861E-965983905084}" destId="{C8357BD6-F818-4C12-A7FE-518D9C9C68AE}" srcOrd="1" destOrd="0" presId="urn:microsoft.com/office/officeart/2018/5/layout/IconCircleLabelList"/>
    <dgm:cxn modelId="{920F7DE1-F6DF-864E-ADCD-296F42C8145B}" type="presParOf" srcId="{A9B72F8E-2460-4935-861E-965983905084}" destId="{E100BB61-DA55-4F6A-9AE0-B17B070FDB39}" srcOrd="2" destOrd="0" presId="urn:microsoft.com/office/officeart/2018/5/layout/IconCircleLabelList"/>
    <dgm:cxn modelId="{E186DC62-0918-9D4C-A3CA-C32CD04B24DF}" type="presParOf" srcId="{A9B72F8E-2460-4935-861E-965983905084}" destId="{C05D03CD-EFE7-4664-9967-D70A72AE5CB4}" srcOrd="3" destOrd="0" presId="urn:microsoft.com/office/officeart/2018/5/layout/IconCircleLabelList"/>
    <dgm:cxn modelId="{EC4530B3-C3A1-D242-A627-65AEEB52CDFE}" type="presParOf" srcId="{0CA6FFAB-BF04-4501-8255-7D729F5BB065}" destId="{803459D4-622E-4C03-8394-3D288EE4D283}" srcOrd="1" destOrd="0" presId="urn:microsoft.com/office/officeart/2018/5/layout/IconCircleLabelList"/>
    <dgm:cxn modelId="{051575FC-9B55-3B4A-81A0-C20707D84868}" type="presParOf" srcId="{0CA6FFAB-BF04-4501-8255-7D729F5BB065}" destId="{447049FD-DFF7-4FC8-8CF3-6E31DAD867F0}" srcOrd="2" destOrd="0" presId="urn:microsoft.com/office/officeart/2018/5/layout/IconCircleLabelList"/>
    <dgm:cxn modelId="{785225BA-5506-7642-8AF7-E6E1B78DA5CB}" type="presParOf" srcId="{447049FD-DFF7-4FC8-8CF3-6E31DAD867F0}" destId="{0A0DB4AA-84C1-472D-A357-202787D832FE}" srcOrd="0" destOrd="0" presId="urn:microsoft.com/office/officeart/2018/5/layout/IconCircleLabelList"/>
    <dgm:cxn modelId="{E8F01BCA-2055-F644-A364-CFE5CC6A67CF}" type="presParOf" srcId="{447049FD-DFF7-4FC8-8CF3-6E31DAD867F0}" destId="{2AA27A57-73DC-4EEC-BCDD-2CCED2FB3100}" srcOrd="1" destOrd="0" presId="urn:microsoft.com/office/officeart/2018/5/layout/IconCircleLabelList"/>
    <dgm:cxn modelId="{8ED47BB0-D1B2-DE4B-85C5-F612778B2D9F}" type="presParOf" srcId="{447049FD-DFF7-4FC8-8CF3-6E31DAD867F0}" destId="{80EB4388-A61A-4A07-BB8C-9BED68426607}" srcOrd="2" destOrd="0" presId="urn:microsoft.com/office/officeart/2018/5/layout/IconCircleLabelList"/>
    <dgm:cxn modelId="{66C9B6F4-32D4-1E45-88B3-DF24346C9F5D}" type="presParOf" srcId="{447049FD-DFF7-4FC8-8CF3-6E31DAD867F0}" destId="{0F7B082E-4FE9-4917-B329-641247BB1A4C}" srcOrd="3" destOrd="0" presId="urn:microsoft.com/office/officeart/2018/5/layout/IconCircleLabelList"/>
    <dgm:cxn modelId="{F1B5A57C-F47F-0948-98ED-BBCFC6862273}" type="presParOf" srcId="{0CA6FFAB-BF04-4501-8255-7D729F5BB065}" destId="{0E7F49AB-D84D-49E8-88D3-3AD98196D8D0}" srcOrd="3" destOrd="0" presId="urn:microsoft.com/office/officeart/2018/5/layout/IconCircleLabelList"/>
    <dgm:cxn modelId="{2A92D258-B30B-3A4E-8FBE-7DC64ACC5677}" type="presParOf" srcId="{0CA6FFAB-BF04-4501-8255-7D729F5BB065}" destId="{F980D427-89C8-4DBA-B809-555BAC7478D4}" srcOrd="4" destOrd="0" presId="urn:microsoft.com/office/officeart/2018/5/layout/IconCircleLabelList"/>
    <dgm:cxn modelId="{EA3A972A-9CA4-024F-B602-63A1920BC85F}" type="presParOf" srcId="{F980D427-89C8-4DBA-B809-555BAC7478D4}" destId="{4DDB662E-9C5A-443E-85EB-38C79425561F}" srcOrd="0" destOrd="0" presId="urn:microsoft.com/office/officeart/2018/5/layout/IconCircleLabelList"/>
    <dgm:cxn modelId="{DBBDC426-90A4-D146-B59E-E48599F2D09D}" type="presParOf" srcId="{F980D427-89C8-4DBA-B809-555BAC7478D4}" destId="{C5FF1364-4234-4973-B929-0939DC8B1E0A}" srcOrd="1" destOrd="0" presId="urn:microsoft.com/office/officeart/2018/5/layout/IconCircleLabelList"/>
    <dgm:cxn modelId="{9767A3E4-56F8-1A43-83FA-DB18244E156B}" type="presParOf" srcId="{F980D427-89C8-4DBA-B809-555BAC7478D4}" destId="{F4BB99D6-8DD3-49AD-A835-20526F79F8FA}" srcOrd="2" destOrd="0" presId="urn:microsoft.com/office/officeart/2018/5/layout/IconCircleLabelList"/>
    <dgm:cxn modelId="{1BDF3709-BA89-A044-88A3-14D79F0B6ED5}" type="presParOf" srcId="{F980D427-89C8-4DBA-B809-555BAC7478D4}" destId="{24F2ACF0-E2C4-4561-8807-4027546F77C0}" srcOrd="3" destOrd="0" presId="urn:microsoft.com/office/officeart/2018/5/layout/IconCircleLabelList"/>
    <dgm:cxn modelId="{1ACAD897-EBD1-F040-B77F-F0F699019D5C}" type="presParOf" srcId="{0CA6FFAB-BF04-4501-8255-7D729F5BB065}" destId="{665FF9BE-2D5D-4BB9-A012-283CE83F018F}" srcOrd="5" destOrd="0" presId="urn:microsoft.com/office/officeart/2018/5/layout/IconCircleLabelList"/>
    <dgm:cxn modelId="{412E89A3-A6F3-9C42-A953-FEAEC9F52BE1}" type="presParOf" srcId="{0CA6FFAB-BF04-4501-8255-7D729F5BB065}" destId="{3B5C2048-837C-4333-A8FC-78146367939A}" srcOrd="6" destOrd="0" presId="urn:microsoft.com/office/officeart/2018/5/layout/IconCircleLabelList"/>
    <dgm:cxn modelId="{4C7C2BDE-8F81-BF42-9490-ED43A2B1E52A}" type="presParOf" srcId="{3B5C2048-837C-4333-A8FC-78146367939A}" destId="{BC570467-27CD-4FBB-9FB0-BED5FF34AD69}" srcOrd="0" destOrd="0" presId="urn:microsoft.com/office/officeart/2018/5/layout/IconCircleLabelList"/>
    <dgm:cxn modelId="{88B9B790-1CD9-044A-9D4B-0BEE28F94E9D}" type="presParOf" srcId="{3B5C2048-837C-4333-A8FC-78146367939A}" destId="{FEE21511-25ED-4548-860A-A4D6B7FEE006}" srcOrd="1" destOrd="0" presId="urn:microsoft.com/office/officeart/2018/5/layout/IconCircleLabelList"/>
    <dgm:cxn modelId="{CD97F382-DED3-114B-B143-A480EA8F07CB}" type="presParOf" srcId="{3B5C2048-837C-4333-A8FC-78146367939A}" destId="{EFF2ABAE-AC99-4268-BEF0-4013CB400356}" srcOrd="2" destOrd="0" presId="urn:microsoft.com/office/officeart/2018/5/layout/IconCircleLabelList"/>
    <dgm:cxn modelId="{830C6012-B51F-1F4E-8DEF-0CB697916B51}" type="presParOf" srcId="{3B5C2048-837C-4333-A8FC-78146367939A}" destId="{72D9B868-BFBE-4871-9AB2-277C67000354}" srcOrd="3" destOrd="0" presId="urn:microsoft.com/office/officeart/2018/5/layout/IconCircleLabelList"/>
    <dgm:cxn modelId="{7022AF26-4C9C-304D-90EC-E5C4C6B3D86F}" type="presParOf" srcId="{0CA6FFAB-BF04-4501-8255-7D729F5BB065}" destId="{1D5F372D-D1D7-B147-A3A5-288665DF5135}" srcOrd="7" destOrd="0" presId="urn:microsoft.com/office/officeart/2018/5/layout/IconCircleLabelList"/>
    <dgm:cxn modelId="{AEEDA2A5-87AC-7048-A1E5-2480686ABC28}" type="presParOf" srcId="{0CA6FFAB-BF04-4501-8255-7D729F5BB065}" destId="{8F3B022A-3325-614C-A0A1-B9A49C1B0F90}" srcOrd="8" destOrd="0" presId="urn:microsoft.com/office/officeart/2018/5/layout/IconCircleLabelList"/>
    <dgm:cxn modelId="{31E9275D-0E6B-684D-948A-708E8344E5BC}" type="presParOf" srcId="{8F3B022A-3325-614C-A0A1-B9A49C1B0F90}" destId="{4D02DBBE-B8AE-3743-9D94-CAB662E3FF54}" srcOrd="0" destOrd="0" presId="urn:microsoft.com/office/officeart/2018/5/layout/IconCircleLabelList"/>
    <dgm:cxn modelId="{1FC13324-65F9-C842-B862-81CD1A68E84D}" type="presParOf" srcId="{8F3B022A-3325-614C-A0A1-B9A49C1B0F90}" destId="{08A36BD7-557A-D442-8874-D06950E41123}" srcOrd="1" destOrd="0" presId="urn:microsoft.com/office/officeart/2018/5/layout/IconCircleLabelList"/>
    <dgm:cxn modelId="{7E20C96A-6D18-2B48-A934-4DB02A6D8ECB}" type="presParOf" srcId="{8F3B022A-3325-614C-A0A1-B9A49C1B0F90}" destId="{1D185FAC-6CDA-D64A-AB9D-F661E235E7BF}" srcOrd="2" destOrd="0" presId="urn:microsoft.com/office/officeart/2018/5/layout/IconCircleLabelList"/>
    <dgm:cxn modelId="{DC247ABA-4C92-A241-9BBC-A9B61F82CE93}" type="presParOf" srcId="{8F3B022A-3325-614C-A0A1-B9A49C1B0F90}" destId="{E5A79E55-8FC3-8C4A-92A0-2B33B964789A}"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8BFEAB-D90F-4895-83C0-8000182CFC60}"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B729AADB-00CC-4ED8-8377-D707EC0C5777}">
      <dgm:prSet/>
      <dgm:spPr/>
      <dgm:t>
        <a:bodyPr/>
        <a:lstStyle/>
        <a:p>
          <a:pPr>
            <a:lnSpc>
              <a:spcPct val="100000"/>
            </a:lnSpc>
            <a:defRPr cap="all"/>
          </a:pPr>
          <a:r>
            <a:rPr lang="en-US" dirty="0"/>
            <a:t>LIVELIHOODS </a:t>
          </a:r>
        </a:p>
      </dgm:t>
    </dgm:pt>
    <dgm:pt modelId="{07637733-7A11-4BDE-A6F0-D7065089CA7F}" type="parTrans" cxnId="{4406BD49-77B2-4551-8E31-517DBA49C4CE}">
      <dgm:prSet/>
      <dgm:spPr/>
      <dgm:t>
        <a:bodyPr/>
        <a:lstStyle/>
        <a:p>
          <a:endParaRPr lang="en-US"/>
        </a:p>
      </dgm:t>
    </dgm:pt>
    <dgm:pt modelId="{E4624F36-160C-4D5E-9007-4471F8D5D502}" type="sibTrans" cxnId="{4406BD49-77B2-4551-8E31-517DBA49C4CE}">
      <dgm:prSet/>
      <dgm:spPr/>
      <dgm:t>
        <a:bodyPr/>
        <a:lstStyle/>
        <a:p>
          <a:endParaRPr lang="en-US"/>
        </a:p>
      </dgm:t>
    </dgm:pt>
    <dgm:pt modelId="{DEC0AFD0-E0C3-4E9C-A7D2-6AA03C6B609E}">
      <dgm:prSet/>
      <dgm:spPr/>
      <dgm:t>
        <a:bodyPr/>
        <a:lstStyle/>
        <a:p>
          <a:pPr>
            <a:lnSpc>
              <a:spcPct val="100000"/>
            </a:lnSpc>
            <a:defRPr cap="all"/>
          </a:pPr>
          <a:r>
            <a:rPr lang="en-US" dirty="0"/>
            <a:t>EDUCATION</a:t>
          </a:r>
        </a:p>
      </dgm:t>
    </dgm:pt>
    <dgm:pt modelId="{968B39AB-3E56-48A0-ACCA-145DD51DD8E6}" type="parTrans" cxnId="{440F0599-AFC1-438E-98D5-6D5BBF232D92}">
      <dgm:prSet/>
      <dgm:spPr/>
      <dgm:t>
        <a:bodyPr/>
        <a:lstStyle/>
        <a:p>
          <a:endParaRPr lang="en-US"/>
        </a:p>
      </dgm:t>
    </dgm:pt>
    <dgm:pt modelId="{4B3F8691-09FA-4DD6-9A6C-D429441D99F1}" type="sibTrans" cxnId="{440F0599-AFC1-438E-98D5-6D5BBF232D92}">
      <dgm:prSet/>
      <dgm:spPr/>
      <dgm:t>
        <a:bodyPr/>
        <a:lstStyle/>
        <a:p>
          <a:endParaRPr lang="en-US"/>
        </a:p>
      </dgm:t>
    </dgm:pt>
    <dgm:pt modelId="{48F3ED62-7F6F-4184-8DB0-541494C834A1}">
      <dgm:prSet/>
      <dgm:spPr/>
      <dgm:t>
        <a:bodyPr/>
        <a:lstStyle/>
        <a:p>
          <a:pPr>
            <a:lnSpc>
              <a:spcPct val="100000"/>
            </a:lnSpc>
            <a:defRPr cap="all"/>
          </a:pPr>
          <a:r>
            <a:rPr lang="en-US" dirty="0"/>
            <a:t>health</a:t>
          </a:r>
        </a:p>
      </dgm:t>
    </dgm:pt>
    <dgm:pt modelId="{3AEF99B5-8C73-4F71-81EC-9C0940DF829D}" type="parTrans" cxnId="{7F32DD6B-519B-4147-8290-B6F29AC5F8DC}">
      <dgm:prSet/>
      <dgm:spPr/>
      <dgm:t>
        <a:bodyPr/>
        <a:lstStyle/>
        <a:p>
          <a:endParaRPr lang="en-US"/>
        </a:p>
      </dgm:t>
    </dgm:pt>
    <dgm:pt modelId="{88E69033-296F-4134-B62B-95FAF1E24A6D}" type="sibTrans" cxnId="{7F32DD6B-519B-4147-8290-B6F29AC5F8DC}">
      <dgm:prSet/>
      <dgm:spPr/>
      <dgm:t>
        <a:bodyPr/>
        <a:lstStyle/>
        <a:p>
          <a:endParaRPr lang="en-US"/>
        </a:p>
      </dgm:t>
    </dgm:pt>
    <dgm:pt modelId="{F37CA7E9-5D60-4887-B85F-C947DF54BD6F}">
      <dgm:prSet/>
      <dgm:spPr/>
      <dgm:t>
        <a:bodyPr/>
        <a:lstStyle/>
        <a:p>
          <a:pPr>
            <a:lnSpc>
              <a:spcPct val="100000"/>
            </a:lnSpc>
            <a:defRPr cap="all"/>
          </a:pPr>
          <a:r>
            <a:rPr lang="en-US" dirty="0"/>
            <a:t>Disaster Relief</a:t>
          </a:r>
        </a:p>
      </dgm:t>
    </dgm:pt>
    <dgm:pt modelId="{36CC30F5-177F-4D79-972A-202C0487BA1B}" type="parTrans" cxnId="{B3F98B8B-B1E7-4689-819C-2360FBCDC87E}">
      <dgm:prSet/>
      <dgm:spPr/>
      <dgm:t>
        <a:bodyPr/>
        <a:lstStyle/>
        <a:p>
          <a:endParaRPr lang="en-US"/>
        </a:p>
      </dgm:t>
    </dgm:pt>
    <dgm:pt modelId="{E8D6E3FE-8510-410B-832F-2A9E23228A7A}" type="sibTrans" cxnId="{B3F98B8B-B1E7-4689-819C-2360FBCDC87E}">
      <dgm:prSet/>
      <dgm:spPr/>
      <dgm:t>
        <a:bodyPr/>
        <a:lstStyle/>
        <a:p>
          <a:endParaRPr lang="en-US"/>
        </a:p>
      </dgm:t>
    </dgm:pt>
    <dgm:pt modelId="{14350BCF-69D0-CC47-8F6F-E43DF8AB9E65}">
      <dgm:prSet/>
      <dgm:spPr/>
      <dgm:t>
        <a:bodyPr/>
        <a:lstStyle/>
        <a:p>
          <a:pPr>
            <a:defRPr cap="all"/>
          </a:pPr>
          <a:r>
            <a:rPr lang="en-US" dirty="0"/>
            <a:t>Innovation</a:t>
          </a:r>
        </a:p>
      </dgm:t>
    </dgm:pt>
    <dgm:pt modelId="{02CA314B-5348-E14E-95AD-AAE0910433EC}" type="parTrans" cxnId="{816CDCC6-6EC8-4C4E-9036-B4C6DE4B600C}">
      <dgm:prSet/>
      <dgm:spPr/>
      <dgm:t>
        <a:bodyPr/>
        <a:lstStyle/>
        <a:p>
          <a:endParaRPr lang="en-US"/>
        </a:p>
      </dgm:t>
    </dgm:pt>
    <dgm:pt modelId="{0F8040AF-FEA3-F044-8832-3E809865B010}" type="sibTrans" cxnId="{816CDCC6-6EC8-4C4E-9036-B4C6DE4B600C}">
      <dgm:prSet/>
      <dgm:spPr/>
      <dgm:t>
        <a:bodyPr/>
        <a:lstStyle/>
        <a:p>
          <a:endParaRPr lang="en-US"/>
        </a:p>
      </dgm:t>
    </dgm:pt>
    <dgm:pt modelId="{0CA6FFAB-BF04-4501-8255-7D729F5BB065}" type="pres">
      <dgm:prSet presAssocID="{0B8BFEAB-D90F-4895-83C0-8000182CFC60}" presName="root" presStyleCnt="0">
        <dgm:presLayoutVars>
          <dgm:dir/>
          <dgm:resizeHandles val="exact"/>
        </dgm:presLayoutVars>
      </dgm:prSet>
      <dgm:spPr/>
    </dgm:pt>
    <dgm:pt modelId="{A9B72F8E-2460-4935-861E-965983905084}" type="pres">
      <dgm:prSet presAssocID="{B729AADB-00CC-4ED8-8377-D707EC0C5777}" presName="compNode" presStyleCnt="0"/>
      <dgm:spPr/>
    </dgm:pt>
    <dgm:pt modelId="{6C18F7A5-C8EB-49F8-B178-39A1EFB1808A}" type="pres">
      <dgm:prSet presAssocID="{B729AADB-00CC-4ED8-8377-D707EC0C5777}" presName="iconBgRect" presStyleLbl="bgShp" presStyleIdx="0" presStyleCnt="5"/>
      <dgm:spPr/>
    </dgm:pt>
    <dgm:pt modelId="{C8357BD6-F818-4C12-A7FE-518D9C9C68AE}" type="pres">
      <dgm:prSet presAssocID="{B729AADB-00CC-4ED8-8377-D707EC0C5777}" presName="iconRect" presStyleLbl="node1" presStyleIdx="0" presStyleCnt="5"/>
      <dgm:spPr>
        <a:blipFill rotWithShape="1">
          <a:blip xmlns:r="http://schemas.openxmlformats.org/officeDocument/2006/relationships" r:embed="rId1"/>
          <a:stretch>
            <a:fillRect/>
          </a:stretch>
        </a:blipFill>
        <a:ln>
          <a:noFill/>
        </a:ln>
      </dgm:spPr>
      <dgm:extLst>
        <a:ext uri="{E40237B7-FDA0-4F09-8148-C483321AD2D9}">
          <dgm14:cNvPr xmlns:dgm14="http://schemas.microsoft.com/office/drawing/2010/diagram" id="0" name="" descr="Checkmark"/>
        </a:ext>
      </dgm:extLst>
    </dgm:pt>
    <dgm:pt modelId="{E100BB61-DA55-4F6A-9AE0-B17B070FDB39}" type="pres">
      <dgm:prSet presAssocID="{B729AADB-00CC-4ED8-8377-D707EC0C5777}" presName="spaceRect" presStyleCnt="0"/>
      <dgm:spPr/>
    </dgm:pt>
    <dgm:pt modelId="{C05D03CD-EFE7-4664-9967-D70A72AE5CB4}" type="pres">
      <dgm:prSet presAssocID="{B729AADB-00CC-4ED8-8377-D707EC0C5777}" presName="textRect" presStyleLbl="revTx" presStyleIdx="0" presStyleCnt="5">
        <dgm:presLayoutVars>
          <dgm:chMax val="1"/>
          <dgm:chPref val="1"/>
        </dgm:presLayoutVars>
      </dgm:prSet>
      <dgm:spPr/>
    </dgm:pt>
    <dgm:pt modelId="{803459D4-622E-4C03-8394-3D288EE4D283}" type="pres">
      <dgm:prSet presAssocID="{E4624F36-160C-4D5E-9007-4471F8D5D502}" presName="sibTrans" presStyleCnt="0"/>
      <dgm:spPr/>
    </dgm:pt>
    <dgm:pt modelId="{447049FD-DFF7-4FC8-8CF3-6E31DAD867F0}" type="pres">
      <dgm:prSet presAssocID="{DEC0AFD0-E0C3-4E9C-A7D2-6AA03C6B609E}" presName="compNode" presStyleCnt="0"/>
      <dgm:spPr/>
    </dgm:pt>
    <dgm:pt modelId="{0A0DB4AA-84C1-472D-A357-202787D832FE}" type="pres">
      <dgm:prSet presAssocID="{DEC0AFD0-E0C3-4E9C-A7D2-6AA03C6B609E}" presName="iconBgRect" presStyleLbl="bgShp" presStyleIdx="1" presStyleCnt="5"/>
      <dgm:spPr/>
    </dgm:pt>
    <dgm:pt modelId="{2AA27A57-73DC-4EEC-BCDD-2CCED2FB3100}" type="pres">
      <dgm:prSet presAssocID="{DEC0AFD0-E0C3-4E9C-A7D2-6AA03C6B609E}" presName="iconRect" presStyleLbl="node1" presStyleIdx="1" presStyleCnt="5"/>
      <dgm:spPr>
        <a:blipFill rotWithShape="1">
          <a:blip xmlns:r="http://schemas.openxmlformats.org/officeDocument/2006/relationships" r:embed="rId2"/>
          <a:stretch>
            <a:fillRect/>
          </a:stretch>
        </a:blipFill>
        <a:ln>
          <a:noFill/>
        </a:ln>
      </dgm:spPr>
      <dgm:extLst>
        <a:ext uri="{E40237B7-FDA0-4F09-8148-C483321AD2D9}">
          <dgm14:cNvPr xmlns:dgm14="http://schemas.microsoft.com/office/drawing/2010/diagram" id="0" name="" descr="Books"/>
        </a:ext>
      </dgm:extLst>
    </dgm:pt>
    <dgm:pt modelId="{80EB4388-A61A-4A07-BB8C-9BED68426607}" type="pres">
      <dgm:prSet presAssocID="{DEC0AFD0-E0C3-4E9C-A7D2-6AA03C6B609E}" presName="spaceRect" presStyleCnt="0"/>
      <dgm:spPr/>
    </dgm:pt>
    <dgm:pt modelId="{0F7B082E-4FE9-4917-B329-641247BB1A4C}" type="pres">
      <dgm:prSet presAssocID="{DEC0AFD0-E0C3-4E9C-A7D2-6AA03C6B609E}" presName="textRect" presStyleLbl="revTx" presStyleIdx="1" presStyleCnt="5">
        <dgm:presLayoutVars>
          <dgm:chMax val="1"/>
          <dgm:chPref val="1"/>
        </dgm:presLayoutVars>
      </dgm:prSet>
      <dgm:spPr/>
    </dgm:pt>
    <dgm:pt modelId="{0E7F49AB-D84D-49E8-88D3-3AD98196D8D0}" type="pres">
      <dgm:prSet presAssocID="{4B3F8691-09FA-4DD6-9A6C-D429441D99F1}" presName="sibTrans" presStyleCnt="0"/>
      <dgm:spPr/>
    </dgm:pt>
    <dgm:pt modelId="{F980D427-89C8-4DBA-B809-555BAC7478D4}" type="pres">
      <dgm:prSet presAssocID="{48F3ED62-7F6F-4184-8DB0-541494C834A1}" presName="compNode" presStyleCnt="0"/>
      <dgm:spPr/>
    </dgm:pt>
    <dgm:pt modelId="{4DDB662E-9C5A-443E-85EB-38C79425561F}" type="pres">
      <dgm:prSet presAssocID="{48F3ED62-7F6F-4184-8DB0-541494C834A1}" presName="iconBgRect" presStyleLbl="bgShp" presStyleIdx="2" presStyleCnt="5"/>
      <dgm:spPr/>
    </dgm:pt>
    <dgm:pt modelId="{C5FF1364-4234-4973-B929-0939DC8B1E0A}" type="pres">
      <dgm:prSet presAssocID="{48F3ED62-7F6F-4184-8DB0-541494C834A1}" presName="iconRect" presStyleLbl="node1" presStyleIdx="2" presStyleCnt="5"/>
      <dgm:spPr>
        <a:blipFill rotWithShape="1">
          <a:blip xmlns:r="http://schemas.openxmlformats.org/officeDocument/2006/relationships" r:embed="rId3"/>
          <a:stretch>
            <a:fillRect/>
          </a:stretch>
        </a:blipFill>
        <a:ln>
          <a:noFill/>
        </a:ln>
      </dgm:spPr>
    </dgm:pt>
    <dgm:pt modelId="{F4BB99D6-8DD3-49AD-A835-20526F79F8FA}" type="pres">
      <dgm:prSet presAssocID="{48F3ED62-7F6F-4184-8DB0-541494C834A1}" presName="spaceRect" presStyleCnt="0"/>
      <dgm:spPr/>
    </dgm:pt>
    <dgm:pt modelId="{24F2ACF0-E2C4-4561-8807-4027546F77C0}" type="pres">
      <dgm:prSet presAssocID="{48F3ED62-7F6F-4184-8DB0-541494C834A1}" presName="textRect" presStyleLbl="revTx" presStyleIdx="2" presStyleCnt="5">
        <dgm:presLayoutVars>
          <dgm:chMax val="1"/>
          <dgm:chPref val="1"/>
        </dgm:presLayoutVars>
      </dgm:prSet>
      <dgm:spPr/>
    </dgm:pt>
    <dgm:pt modelId="{665FF9BE-2D5D-4BB9-A012-283CE83F018F}" type="pres">
      <dgm:prSet presAssocID="{88E69033-296F-4134-B62B-95FAF1E24A6D}" presName="sibTrans" presStyleCnt="0"/>
      <dgm:spPr/>
    </dgm:pt>
    <dgm:pt modelId="{3B5C2048-837C-4333-A8FC-78146367939A}" type="pres">
      <dgm:prSet presAssocID="{F37CA7E9-5D60-4887-B85F-C947DF54BD6F}" presName="compNode" presStyleCnt="0"/>
      <dgm:spPr/>
    </dgm:pt>
    <dgm:pt modelId="{BC570467-27CD-4FBB-9FB0-BED5FF34AD69}" type="pres">
      <dgm:prSet presAssocID="{F37CA7E9-5D60-4887-B85F-C947DF54BD6F}" presName="iconBgRect" presStyleLbl="bgShp" presStyleIdx="3" presStyleCnt="5">
        <dgm:style>
          <a:lnRef idx="0">
            <a:schemeClr val="accent1"/>
          </a:lnRef>
          <a:fillRef idx="3">
            <a:schemeClr val="accent1"/>
          </a:fillRef>
          <a:effectRef idx="3">
            <a:schemeClr val="accent1"/>
          </a:effectRef>
          <a:fontRef idx="minor">
            <a:schemeClr val="lt1"/>
          </a:fontRef>
        </dgm:style>
      </dgm:prSet>
      <dgm:spPr/>
    </dgm:pt>
    <dgm:pt modelId="{FEE21511-25ED-4548-860A-A4D6B7FEE006}" type="pres">
      <dgm:prSet presAssocID="{F37CA7E9-5D60-4887-B85F-C947DF54BD6F}" presName="iconRect" presStyleLbl="node1" presStyleIdx="3" presStyleCnt="5"/>
      <dgm:spPr>
        <a:blipFill rotWithShape="1">
          <a:blip xmlns:r="http://schemas.openxmlformats.org/officeDocument/2006/relationships" r:embed="rId4"/>
          <a:stretch>
            <a:fillRect/>
          </a:stretch>
        </a:blipFill>
        <a:ln>
          <a:noFill/>
        </a:ln>
      </dgm:spPr>
    </dgm:pt>
    <dgm:pt modelId="{EFF2ABAE-AC99-4268-BEF0-4013CB400356}" type="pres">
      <dgm:prSet presAssocID="{F37CA7E9-5D60-4887-B85F-C947DF54BD6F}" presName="spaceRect" presStyleCnt="0"/>
      <dgm:spPr/>
    </dgm:pt>
    <dgm:pt modelId="{72D9B868-BFBE-4871-9AB2-277C67000354}" type="pres">
      <dgm:prSet presAssocID="{F37CA7E9-5D60-4887-B85F-C947DF54BD6F}" presName="textRect" presStyleLbl="revTx" presStyleIdx="3" presStyleCnt="5">
        <dgm:presLayoutVars>
          <dgm:chMax val="1"/>
          <dgm:chPref val="1"/>
        </dgm:presLayoutVars>
      </dgm:prSet>
      <dgm:spPr/>
    </dgm:pt>
    <dgm:pt modelId="{1D5F372D-D1D7-B147-A3A5-288665DF5135}" type="pres">
      <dgm:prSet presAssocID="{E8D6E3FE-8510-410B-832F-2A9E23228A7A}" presName="sibTrans" presStyleCnt="0"/>
      <dgm:spPr/>
    </dgm:pt>
    <dgm:pt modelId="{8F3B022A-3325-614C-A0A1-B9A49C1B0F90}" type="pres">
      <dgm:prSet presAssocID="{14350BCF-69D0-CC47-8F6F-E43DF8AB9E65}" presName="compNode" presStyleCnt="0"/>
      <dgm:spPr/>
    </dgm:pt>
    <dgm:pt modelId="{4D02DBBE-B8AE-3743-9D94-CAB662E3FF54}" type="pres">
      <dgm:prSet presAssocID="{14350BCF-69D0-CC47-8F6F-E43DF8AB9E65}" presName="iconBgRect" presStyleLbl="bgShp" presStyleIdx="4" presStyleCnt="5"/>
      <dgm:spPr/>
    </dgm:pt>
    <dgm:pt modelId="{08A36BD7-557A-D442-8874-D06950E41123}" type="pres">
      <dgm:prSet presAssocID="{14350BCF-69D0-CC47-8F6F-E43DF8AB9E65}" presName="iconRect" presStyleLbl="node1" presStyleIdx="4" presStyleCnt="5"/>
      <dgm:spPr>
        <a:blipFill rotWithShape="1">
          <a:blip xmlns:r="http://schemas.openxmlformats.org/officeDocument/2006/relationships" r:embed="rId5"/>
          <a:stretch>
            <a:fillRect/>
          </a:stretch>
        </a:blipFill>
      </dgm:spPr>
    </dgm:pt>
    <dgm:pt modelId="{1D185FAC-6CDA-D64A-AB9D-F661E235E7BF}" type="pres">
      <dgm:prSet presAssocID="{14350BCF-69D0-CC47-8F6F-E43DF8AB9E65}" presName="spaceRect" presStyleCnt="0"/>
      <dgm:spPr/>
    </dgm:pt>
    <dgm:pt modelId="{E5A79E55-8FC3-8C4A-92A0-2B33B964789A}" type="pres">
      <dgm:prSet presAssocID="{14350BCF-69D0-CC47-8F6F-E43DF8AB9E65}" presName="textRect" presStyleLbl="revTx" presStyleIdx="4" presStyleCnt="5">
        <dgm:presLayoutVars>
          <dgm:chMax val="1"/>
          <dgm:chPref val="1"/>
        </dgm:presLayoutVars>
      </dgm:prSet>
      <dgm:spPr/>
    </dgm:pt>
  </dgm:ptLst>
  <dgm:cxnLst>
    <dgm:cxn modelId="{75A1A612-F35E-754A-8064-F8F308A241DF}" type="presOf" srcId="{DEC0AFD0-E0C3-4E9C-A7D2-6AA03C6B609E}" destId="{0F7B082E-4FE9-4917-B329-641247BB1A4C}" srcOrd="0" destOrd="0" presId="urn:microsoft.com/office/officeart/2018/5/layout/IconCircleLabelList"/>
    <dgm:cxn modelId="{7B442C17-7440-D343-A62C-9F397A0F502A}" type="presOf" srcId="{48F3ED62-7F6F-4184-8DB0-541494C834A1}" destId="{24F2ACF0-E2C4-4561-8807-4027546F77C0}" srcOrd="0" destOrd="0" presId="urn:microsoft.com/office/officeart/2018/5/layout/IconCircleLabelList"/>
    <dgm:cxn modelId="{EDED0F46-486F-F644-A23D-89C788C26CD8}" type="presOf" srcId="{B729AADB-00CC-4ED8-8377-D707EC0C5777}" destId="{C05D03CD-EFE7-4664-9967-D70A72AE5CB4}" srcOrd="0" destOrd="0" presId="urn:microsoft.com/office/officeart/2018/5/layout/IconCircleLabelList"/>
    <dgm:cxn modelId="{4406BD49-77B2-4551-8E31-517DBA49C4CE}" srcId="{0B8BFEAB-D90F-4895-83C0-8000182CFC60}" destId="{B729AADB-00CC-4ED8-8377-D707EC0C5777}" srcOrd="0" destOrd="0" parTransId="{07637733-7A11-4BDE-A6F0-D7065089CA7F}" sibTransId="{E4624F36-160C-4D5E-9007-4471F8D5D502}"/>
    <dgm:cxn modelId="{7F32DD6B-519B-4147-8290-B6F29AC5F8DC}" srcId="{0B8BFEAB-D90F-4895-83C0-8000182CFC60}" destId="{48F3ED62-7F6F-4184-8DB0-541494C834A1}" srcOrd="2" destOrd="0" parTransId="{3AEF99B5-8C73-4F71-81EC-9C0940DF829D}" sibTransId="{88E69033-296F-4134-B62B-95FAF1E24A6D}"/>
    <dgm:cxn modelId="{B3F98B8B-B1E7-4689-819C-2360FBCDC87E}" srcId="{0B8BFEAB-D90F-4895-83C0-8000182CFC60}" destId="{F37CA7E9-5D60-4887-B85F-C947DF54BD6F}" srcOrd="3" destOrd="0" parTransId="{36CC30F5-177F-4D79-972A-202C0487BA1B}" sibTransId="{E8D6E3FE-8510-410B-832F-2A9E23228A7A}"/>
    <dgm:cxn modelId="{D045A28E-2D5B-B649-916B-592FC10AF219}" type="presOf" srcId="{14350BCF-69D0-CC47-8F6F-E43DF8AB9E65}" destId="{E5A79E55-8FC3-8C4A-92A0-2B33B964789A}" srcOrd="0" destOrd="0" presId="urn:microsoft.com/office/officeart/2018/5/layout/IconCircleLabelList"/>
    <dgm:cxn modelId="{440F0599-AFC1-438E-98D5-6D5BBF232D92}" srcId="{0B8BFEAB-D90F-4895-83C0-8000182CFC60}" destId="{DEC0AFD0-E0C3-4E9C-A7D2-6AA03C6B609E}" srcOrd="1" destOrd="0" parTransId="{968B39AB-3E56-48A0-ACCA-145DD51DD8E6}" sibTransId="{4B3F8691-09FA-4DD6-9A6C-D429441D99F1}"/>
    <dgm:cxn modelId="{4FA6D2AA-CD48-D24C-BB3A-C6A02500029A}" type="presOf" srcId="{0B8BFEAB-D90F-4895-83C0-8000182CFC60}" destId="{0CA6FFAB-BF04-4501-8255-7D729F5BB065}" srcOrd="0" destOrd="0" presId="urn:microsoft.com/office/officeart/2018/5/layout/IconCircleLabelList"/>
    <dgm:cxn modelId="{314DC8B7-AD26-E54C-9F72-457F8B3D479C}" type="presOf" srcId="{F37CA7E9-5D60-4887-B85F-C947DF54BD6F}" destId="{72D9B868-BFBE-4871-9AB2-277C67000354}" srcOrd="0" destOrd="0" presId="urn:microsoft.com/office/officeart/2018/5/layout/IconCircleLabelList"/>
    <dgm:cxn modelId="{816CDCC6-6EC8-4C4E-9036-B4C6DE4B600C}" srcId="{0B8BFEAB-D90F-4895-83C0-8000182CFC60}" destId="{14350BCF-69D0-CC47-8F6F-E43DF8AB9E65}" srcOrd="4" destOrd="0" parTransId="{02CA314B-5348-E14E-95AD-AAE0910433EC}" sibTransId="{0F8040AF-FEA3-F044-8832-3E809865B010}"/>
    <dgm:cxn modelId="{5D272847-05E2-1F4D-AA2C-7EBB379D3BD4}" type="presParOf" srcId="{0CA6FFAB-BF04-4501-8255-7D729F5BB065}" destId="{A9B72F8E-2460-4935-861E-965983905084}" srcOrd="0" destOrd="0" presId="urn:microsoft.com/office/officeart/2018/5/layout/IconCircleLabelList"/>
    <dgm:cxn modelId="{A4E03FDE-EF4C-7240-A1A6-CE3BB22E05F6}" type="presParOf" srcId="{A9B72F8E-2460-4935-861E-965983905084}" destId="{6C18F7A5-C8EB-49F8-B178-39A1EFB1808A}" srcOrd="0" destOrd="0" presId="urn:microsoft.com/office/officeart/2018/5/layout/IconCircleLabelList"/>
    <dgm:cxn modelId="{278F69FA-8F57-3146-9711-461A565F3408}" type="presParOf" srcId="{A9B72F8E-2460-4935-861E-965983905084}" destId="{C8357BD6-F818-4C12-A7FE-518D9C9C68AE}" srcOrd="1" destOrd="0" presId="urn:microsoft.com/office/officeart/2018/5/layout/IconCircleLabelList"/>
    <dgm:cxn modelId="{AE2D02CA-1B44-624A-BF38-59BD7058CF7C}" type="presParOf" srcId="{A9B72F8E-2460-4935-861E-965983905084}" destId="{E100BB61-DA55-4F6A-9AE0-B17B070FDB39}" srcOrd="2" destOrd="0" presId="urn:microsoft.com/office/officeart/2018/5/layout/IconCircleLabelList"/>
    <dgm:cxn modelId="{9F6EFB65-CD12-C047-A6F6-A285551886E6}" type="presParOf" srcId="{A9B72F8E-2460-4935-861E-965983905084}" destId="{C05D03CD-EFE7-4664-9967-D70A72AE5CB4}" srcOrd="3" destOrd="0" presId="urn:microsoft.com/office/officeart/2018/5/layout/IconCircleLabelList"/>
    <dgm:cxn modelId="{15C21FA4-7F2B-9D43-8240-ABF7C628B3B0}" type="presParOf" srcId="{0CA6FFAB-BF04-4501-8255-7D729F5BB065}" destId="{803459D4-622E-4C03-8394-3D288EE4D283}" srcOrd="1" destOrd="0" presId="urn:microsoft.com/office/officeart/2018/5/layout/IconCircleLabelList"/>
    <dgm:cxn modelId="{54D82C4C-59C8-0E42-8CA9-B4AE153DB824}" type="presParOf" srcId="{0CA6FFAB-BF04-4501-8255-7D729F5BB065}" destId="{447049FD-DFF7-4FC8-8CF3-6E31DAD867F0}" srcOrd="2" destOrd="0" presId="urn:microsoft.com/office/officeart/2018/5/layout/IconCircleLabelList"/>
    <dgm:cxn modelId="{1A51890D-B91B-284D-9748-FCDE29054C64}" type="presParOf" srcId="{447049FD-DFF7-4FC8-8CF3-6E31DAD867F0}" destId="{0A0DB4AA-84C1-472D-A357-202787D832FE}" srcOrd="0" destOrd="0" presId="urn:microsoft.com/office/officeart/2018/5/layout/IconCircleLabelList"/>
    <dgm:cxn modelId="{EC28E078-69B4-E74F-BB7A-5E07703364A7}" type="presParOf" srcId="{447049FD-DFF7-4FC8-8CF3-6E31DAD867F0}" destId="{2AA27A57-73DC-4EEC-BCDD-2CCED2FB3100}" srcOrd="1" destOrd="0" presId="urn:microsoft.com/office/officeart/2018/5/layout/IconCircleLabelList"/>
    <dgm:cxn modelId="{71C575B3-77AF-BE49-A28C-ECF07B4B7967}" type="presParOf" srcId="{447049FD-DFF7-4FC8-8CF3-6E31DAD867F0}" destId="{80EB4388-A61A-4A07-BB8C-9BED68426607}" srcOrd="2" destOrd="0" presId="urn:microsoft.com/office/officeart/2018/5/layout/IconCircleLabelList"/>
    <dgm:cxn modelId="{071E0B8C-A350-E744-973F-E337456C1C2F}" type="presParOf" srcId="{447049FD-DFF7-4FC8-8CF3-6E31DAD867F0}" destId="{0F7B082E-4FE9-4917-B329-641247BB1A4C}" srcOrd="3" destOrd="0" presId="urn:microsoft.com/office/officeart/2018/5/layout/IconCircleLabelList"/>
    <dgm:cxn modelId="{C29E4B34-0C5B-D14D-AA91-F5C3B4B45038}" type="presParOf" srcId="{0CA6FFAB-BF04-4501-8255-7D729F5BB065}" destId="{0E7F49AB-D84D-49E8-88D3-3AD98196D8D0}" srcOrd="3" destOrd="0" presId="urn:microsoft.com/office/officeart/2018/5/layout/IconCircleLabelList"/>
    <dgm:cxn modelId="{423959D0-0EA5-9A42-8EBE-42C3C9AE6E35}" type="presParOf" srcId="{0CA6FFAB-BF04-4501-8255-7D729F5BB065}" destId="{F980D427-89C8-4DBA-B809-555BAC7478D4}" srcOrd="4" destOrd="0" presId="urn:microsoft.com/office/officeart/2018/5/layout/IconCircleLabelList"/>
    <dgm:cxn modelId="{816E93CD-9A35-3245-9B44-D39D668EC36A}" type="presParOf" srcId="{F980D427-89C8-4DBA-B809-555BAC7478D4}" destId="{4DDB662E-9C5A-443E-85EB-38C79425561F}" srcOrd="0" destOrd="0" presId="urn:microsoft.com/office/officeart/2018/5/layout/IconCircleLabelList"/>
    <dgm:cxn modelId="{6AB01C27-FCCF-2444-A3EF-5258F8900392}" type="presParOf" srcId="{F980D427-89C8-4DBA-B809-555BAC7478D4}" destId="{C5FF1364-4234-4973-B929-0939DC8B1E0A}" srcOrd="1" destOrd="0" presId="urn:microsoft.com/office/officeart/2018/5/layout/IconCircleLabelList"/>
    <dgm:cxn modelId="{19A86F95-CB57-6546-83E0-BCD513AE4C09}" type="presParOf" srcId="{F980D427-89C8-4DBA-B809-555BAC7478D4}" destId="{F4BB99D6-8DD3-49AD-A835-20526F79F8FA}" srcOrd="2" destOrd="0" presId="urn:microsoft.com/office/officeart/2018/5/layout/IconCircleLabelList"/>
    <dgm:cxn modelId="{228E7C96-BD69-CA47-A438-EC5A3E51EF07}" type="presParOf" srcId="{F980D427-89C8-4DBA-B809-555BAC7478D4}" destId="{24F2ACF0-E2C4-4561-8807-4027546F77C0}" srcOrd="3" destOrd="0" presId="urn:microsoft.com/office/officeart/2018/5/layout/IconCircleLabelList"/>
    <dgm:cxn modelId="{2D68698E-5930-A14A-A477-3241D9D1452E}" type="presParOf" srcId="{0CA6FFAB-BF04-4501-8255-7D729F5BB065}" destId="{665FF9BE-2D5D-4BB9-A012-283CE83F018F}" srcOrd="5" destOrd="0" presId="urn:microsoft.com/office/officeart/2018/5/layout/IconCircleLabelList"/>
    <dgm:cxn modelId="{09E8D768-CA4A-C040-BC1C-EA45F770DA12}" type="presParOf" srcId="{0CA6FFAB-BF04-4501-8255-7D729F5BB065}" destId="{3B5C2048-837C-4333-A8FC-78146367939A}" srcOrd="6" destOrd="0" presId="urn:microsoft.com/office/officeart/2018/5/layout/IconCircleLabelList"/>
    <dgm:cxn modelId="{FE11A4AF-6FB4-6D4E-89E1-FA77F824FEC7}" type="presParOf" srcId="{3B5C2048-837C-4333-A8FC-78146367939A}" destId="{BC570467-27CD-4FBB-9FB0-BED5FF34AD69}" srcOrd="0" destOrd="0" presId="urn:microsoft.com/office/officeart/2018/5/layout/IconCircleLabelList"/>
    <dgm:cxn modelId="{0FED268C-FA7D-CF41-967C-03BA4A620C5C}" type="presParOf" srcId="{3B5C2048-837C-4333-A8FC-78146367939A}" destId="{FEE21511-25ED-4548-860A-A4D6B7FEE006}" srcOrd="1" destOrd="0" presId="urn:microsoft.com/office/officeart/2018/5/layout/IconCircleLabelList"/>
    <dgm:cxn modelId="{17B62CFB-4597-6244-A68A-2966CADFEA12}" type="presParOf" srcId="{3B5C2048-837C-4333-A8FC-78146367939A}" destId="{EFF2ABAE-AC99-4268-BEF0-4013CB400356}" srcOrd="2" destOrd="0" presId="urn:microsoft.com/office/officeart/2018/5/layout/IconCircleLabelList"/>
    <dgm:cxn modelId="{EFCE0D5B-7E5F-6E4D-8B70-8AF613F56A10}" type="presParOf" srcId="{3B5C2048-837C-4333-A8FC-78146367939A}" destId="{72D9B868-BFBE-4871-9AB2-277C67000354}" srcOrd="3" destOrd="0" presId="urn:microsoft.com/office/officeart/2018/5/layout/IconCircleLabelList"/>
    <dgm:cxn modelId="{A02002F1-A91F-6E4E-AE08-032436199FE7}" type="presParOf" srcId="{0CA6FFAB-BF04-4501-8255-7D729F5BB065}" destId="{1D5F372D-D1D7-B147-A3A5-288665DF5135}" srcOrd="7" destOrd="0" presId="urn:microsoft.com/office/officeart/2018/5/layout/IconCircleLabelList"/>
    <dgm:cxn modelId="{FFDD524B-3690-214D-BCFC-63A2F056B0F5}" type="presParOf" srcId="{0CA6FFAB-BF04-4501-8255-7D729F5BB065}" destId="{8F3B022A-3325-614C-A0A1-B9A49C1B0F90}" srcOrd="8" destOrd="0" presId="urn:microsoft.com/office/officeart/2018/5/layout/IconCircleLabelList"/>
    <dgm:cxn modelId="{50935C16-1314-9A4C-A829-1D791650561C}" type="presParOf" srcId="{8F3B022A-3325-614C-A0A1-B9A49C1B0F90}" destId="{4D02DBBE-B8AE-3743-9D94-CAB662E3FF54}" srcOrd="0" destOrd="0" presId="urn:microsoft.com/office/officeart/2018/5/layout/IconCircleLabelList"/>
    <dgm:cxn modelId="{50000FD7-9E8F-1248-8AD6-6960494A591A}" type="presParOf" srcId="{8F3B022A-3325-614C-A0A1-B9A49C1B0F90}" destId="{08A36BD7-557A-D442-8874-D06950E41123}" srcOrd="1" destOrd="0" presId="urn:microsoft.com/office/officeart/2018/5/layout/IconCircleLabelList"/>
    <dgm:cxn modelId="{1F03E895-762A-054E-94E7-10334CF05935}" type="presParOf" srcId="{8F3B022A-3325-614C-A0A1-B9A49C1B0F90}" destId="{1D185FAC-6CDA-D64A-AB9D-F661E235E7BF}" srcOrd="2" destOrd="0" presId="urn:microsoft.com/office/officeart/2018/5/layout/IconCircleLabelList"/>
    <dgm:cxn modelId="{7BC4AD2C-FF1D-B743-89FB-1297CB3F7E1D}" type="presParOf" srcId="{8F3B022A-3325-614C-A0A1-B9A49C1B0F90}" destId="{E5A79E55-8FC3-8C4A-92A0-2B33B964789A}"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8E680B1-055D-A941-9CE2-686843987DE0}" type="doc">
      <dgm:prSet loTypeId="urn:microsoft.com/office/officeart/2005/8/layout/target1" loCatId="" qsTypeId="urn:microsoft.com/office/officeart/2005/8/quickstyle/simple4" qsCatId="simple" csTypeId="urn:microsoft.com/office/officeart/2005/8/colors/accent1_2" csCatId="accent1" phldr="1"/>
      <dgm:spPr/>
      <dgm:t>
        <a:bodyPr/>
        <a:lstStyle/>
        <a:p>
          <a:endParaRPr lang="en-US"/>
        </a:p>
      </dgm:t>
    </dgm:pt>
    <dgm:pt modelId="{9EC3A9FD-FD25-6145-8D66-85CF64F3EEB8}">
      <dgm:prSet phldrT="[Text]"/>
      <dgm:spPr/>
      <dgm:t>
        <a:bodyPr/>
        <a:lstStyle/>
        <a:p>
          <a:r>
            <a:rPr lang="en-US" b="0" dirty="0"/>
            <a:t>Livelihoods</a:t>
          </a:r>
        </a:p>
        <a:p>
          <a:r>
            <a:rPr lang="en-US" b="0" dirty="0"/>
            <a:t>(Scaling Agriculture)</a:t>
          </a:r>
        </a:p>
      </dgm:t>
    </dgm:pt>
    <dgm:pt modelId="{83FCE7E0-A05B-3243-A2CB-75D0F627FBDC}" type="parTrans" cxnId="{C8E04F38-8853-B942-952E-2DBB2DF89398}">
      <dgm:prSet/>
      <dgm:spPr/>
      <dgm:t>
        <a:bodyPr/>
        <a:lstStyle/>
        <a:p>
          <a:endParaRPr lang="en-US"/>
        </a:p>
      </dgm:t>
    </dgm:pt>
    <dgm:pt modelId="{37EF5A0F-1005-DF4B-AE3B-3819F8038D51}" type="sibTrans" cxnId="{C8E04F38-8853-B942-952E-2DBB2DF89398}">
      <dgm:prSet/>
      <dgm:spPr/>
      <dgm:t>
        <a:bodyPr/>
        <a:lstStyle/>
        <a:p>
          <a:endParaRPr lang="en-US"/>
        </a:p>
      </dgm:t>
    </dgm:pt>
    <dgm:pt modelId="{776D0A0A-1F3B-6343-B11E-4DBCD50FBCE4}">
      <dgm:prSet phldrT="[Text]"/>
      <dgm:spPr/>
      <dgm:t>
        <a:bodyPr/>
        <a:lstStyle/>
        <a:p>
          <a:r>
            <a:rPr lang="en-US" b="0" dirty="0"/>
            <a:t>Health</a:t>
          </a:r>
        </a:p>
      </dgm:t>
    </dgm:pt>
    <dgm:pt modelId="{CF80C0BD-E8C0-104A-9205-ECBF8530AD05}" type="parTrans" cxnId="{21C3E4A8-9E0D-7949-9CAE-14EE31F5397C}">
      <dgm:prSet/>
      <dgm:spPr/>
      <dgm:t>
        <a:bodyPr/>
        <a:lstStyle/>
        <a:p>
          <a:endParaRPr lang="en-US"/>
        </a:p>
      </dgm:t>
    </dgm:pt>
    <dgm:pt modelId="{C5AA3CF8-1814-A64B-848E-B92A011D82D0}" type="sibTrans" cxnId="{21C3E4A8-9E0D-7949-9CAE-14EE31F5397C}">
      <dgm:prSet/>
      <dgm:spPr/>
      <dgm:t>
        <a:bodyPr/>
        <a:lstStyle/>
        <a:p>
          <a:endParaRPr lang="en-US"/>
        </a:p>
      </dgm:t>
    </dgm:pt>
    <dgm:pt modelId="{19B0B413-8163-9449-9CA0-3BB09D10179B}">
      <dgm:prSet phldrT="[Text]"/>
      <dgm:spPr/>
      <dgm:t>
        <a:bodyPr/>
        <a:lstStyle/>
        <a:p>
          <a:r>
            <a:rPr lang="en-US" b="0" i="0" dirty="0"/>
            <a:t>Disaster Relief</a:t>
          </a:r>
        </a:p>
      </dgm:t>
    </dgm:pt>
    <dgm:pt modelId="{01DF65A4-DF88-514B-B013-3A1D706EC855}" type="parTrans" cxnId="{74DCE1B7-730B-074C-A8F2-7DB0DF385104}">
      <dgm:prSet/>
      <dgm:spPr/>
      <dgm:t>
        <a:bodyPr/>
        <a:lstStyle/>
        <a:p>
          <a:endParaRPr lang="en-US"/>
        </a:p>
      </dgm:t>
    </dgm:pt>
    <dgm:pt modelId="{F3F0C45B-F782-4B48-8C6C-307F2D29E35D}" type="sibTrans" cxnId="{74DCE1B7-730B-074C-A8F2-7DB0DF385104}">
      <dgm:prSet/>
      <dgm:spPr/>
      <dgm:t>
        <a:bodyPr/>
        <a:lstStyle/>
        <a:p>
          <a:endParaRPr lang="en-US"/>
        </a:p>
      </dgm:t>
    </dgm:pt>
    <dgm:pt modelId="{DE1FBA91-98BF-584F-AE81-969259B924A8}">
      <dgm:prSet phldrT="[Text]"/>
      <dgm:spPr/>
      <dgm:t>
        <a:bodyPr/>
        <a:lstStyle/>
        <a:p>
          <a:r>
            <a:rPr lang="en-US" b="0" dirty="0"/>
            <a:t>Innovation</a:t>
          </a:r>
        </a:p>
      </dgm:t>
    </dgm:pt>
    <dgm:pt modelId="{B12167C4-0CB8-9D4E-B0CD-C3D413EFDADB}" type="parTrans" cxnId="{5164423F-F9E0-1047-8011-53CBE745F7E9}">
      <dgm:prSet/>
      <dgm:spPr/>
      <dgm:t>
        <a:bodyPr/>
        <a:lstStyle/>
        <a:p>
          <a:endParaRPr lang="en-US"/>
        </a:p>
      </dgm:t>
    </dgm:pt>
    <dgm:pt modelId="{C6C75E8F-40CA-2347-8F92-88BAD3230CD5}" type="sibTrans" cxnId="{5164423F-F9E0-1047-8011-53CBE745F7E9}">
      <dgm:prSet/>
      <dgm:spPr/>
      <dgm:t>
        <a:bodyPr/>
        <a:lstStyle/>
        <a:p>
          <a:endParaRPr lang="en-US"/>
        </a:p>
      </dgm:t>
    </dgm:pt>
    <dgm:pt modelId="{5AE525C6-5EBB-8743-BE74-96E61BBB5046}" type="pres">
      <dgm:prSet presAssocID="{B8E680B1-055D-A941-9CE2-686843987DE0}" presName="composite" presStyleCnt="0">
        <dgm:presLayoutVars>
          <dgm:chMax val="5"/>
          <dgm:dir/>
          <dgm:resizeHandles val="exact"/>
        </dgm:presLayoutVars>
      </dgm:prSet>
      <dgm:spPr/>
    </dgm:pt>
    <dgm:pt modelId="{A709A657-065B-7C4F-9C77-D7CF22D0329C}" type="pres">
      <dgm:prSet presAssocID="{9EC3A9FD-FD25-6145-8D66-85CF64F3EEB8}" presName="circle1" presStyleLbl="lnNode1" presStyleIdx="0" presStyleCnt="4"/>
      <dgm:spPr/>
    </dgm:pt>
    <dgm:pt modelId="{EFDB7C17-1C0C-3844-A36B-4970A2D8C17B}" type="pres">
      <dgm:prSet presAssocID="{9EC3A9FD-FD25-6145-8D66-85CF64F3EEB8}" presName="text1" presStyleLbl="revTx" presStyleIdx="0" presStyleCnt="4" custScaleX="193214" custLinFactNeighborX="25164">
        <dgm:presLayoutVars>
          <dgm:bulletEnabled val="1"/>
        </dgm:presLayoutVars>
      </dgm:prSet>
      <dgm:spPr/>
    </dgm:pt>
    <dgm:pt modelId="{D532B2EB-8864-B04B-BDFD-857DE7D66D37}" type="pres">
      <dgm:prSet presAssocID="{9EC3A9FD-FD25-6145-8D66-85CF64F3EEB8}" presName="line1" presStyleLbl="callout" presStyleIdx="0" presStyleCnt="8"/>
      <dgm:spPr/>
    </dgm:pt>
    <dgm:pt modelId="{1A127FDF-DCF6-7142-80CF-C9A0284936AD}" type="pres">
      <dgm:prSet presAssocID="{9EC3A9FD-FD25-6145-8D66-85CF64F3EEB8}" presName="d1" presStyleLbl="callout" presStyleIdx="1" presStyleCnt="8"/>
      <dgm:spPr/>
    </dgm:pt>
    <dgm:pt modelId="{5A56A0EF-05CE-9446-8783-6565EE447900}" type="pres">
      <dgm:prSet presAssocID="{776D0A0A-1F3B-6343-B11E-4DBCD50FBCE4}" presName="circle2" presStyleLbl="lnNode1" presStyleIdx="1" presStyleCnt="4"/>
      <dgm:spPr/>
    </dgm:pt>
    <dgm:pt modelId="{F2861C15-D3C3-4E4D-8C95-2AC1B6EABFAD}" type="pres">
      <dgm:prSet presAssocID="{776D0A0A-1F3B-6343-B11E-4DBCD50FBCE4}" presName="text2" presStyleLbl="revTx" presStyleIdx="1" presStyleCnt="4" custScaleX="109680">
        <dgm:presLayoutVars>
          <dgm:bulletEnabled val="1"/>
        </dgm:presLayoutVars>
      </dgm:prSet>
      <dgm:spPr/>
    </dgm:pt>
    <dgm:pt modelId="{88E74669-AAAE-FD46-9CD3-282BC8D0E0A2}" type="pres">
      <dgm:prSet presAssocID="{776D0A0A-1F3B-6343-B11E-4DBCD50FBCE4}" presName="line2" presStyleLbl="callout" presStyleIdx="2" presStyleCnt="8"/>
      <dgm:spPr/>
    </dgm:pt>
    <dgm:pt modelId="{BB2C4887-3D83-9749-A1CE-4EAEF29C1EC5}" type="pres">
      <dgm:prSet presAssocID="{776D0A0A-1F3B-6343-B11E-4DBCD50FBCE4}" presName="d2" presStyleLbl="callout" presStyleIdx="3" presStyleCnt="8"/>
      <dgm:spPr/>
    </dgm:pt>
    <dgm:pt modelId="{CFB731FA-260A-C840-BB3D-997961A96011}" type="pres">
      <dgm:prSet presAssocID="{19B0B413-8163-9449-9CA0-3BB09D10179B}" presName="circle3" presStyleLbl="lnNode1" presStyleIdx="2" presStyleCnt="4"/>
      <dgm:spPr/>
    </dgm:pt>
    <dgm:pt modelId="{F692B867-92A7-4448-B927-407313E2EE6A}" type="pres">
      <dgm:prSet presAssocID="{19B0B413-8163-9449-9CA0-3BB09D10179B}" presName="text3" presStyleLbl="revTx" presStyleIdx="2" presStyleCnt="4">
        <dgm:presLayoutVars>
          <dgm:bulletEnabled val="1"/>
        </dgm:presLayoutVars>
      </dgm:prSet>
      <dgm:spPr/>
    </dgm:pt>
    <dgm:pt modelId="{42C01983-52E2-3D4B-B477-5BDEEA1C98A3}" type="pres">
      <dgm:prSet presAssocID="{19B0B413-8163-9449-9CA0-3BB09D10179B}" presName="line3" presStyleLbl="callout" presStyleIdx="4" presStyleCnt="8"/>
      <dgm:spPr/>
    </dgm:pt>
    <dgm:pt modelId="{FEB3B48E-0E35-2446-950B-62F954F5D58C}" type="pres">
      <dgm:prSet presAssocID="{19B0B413-8163-9449-9CA0-3BB09D10179B}" presName="d3" presStyleLbl="callout" presStyleIdx="5" presStyleCnt="8"/>
      <dgm:spPr/>
    </dgm:pt>
    <dgm:pt modelId="{EAD40B56-5CB5-E14F-94C7-89A80D3E0946}" type="pres">
      <dgm:prSet presAssocID="{DE1FBA91-98BF-584F-AE81-969259B924A8}" presName="circle4" presStyleLbl="lnNode1" presStyleIdx="3" presStyleCnt="4"/>
      <dgm:spPr/>
    </dgm:pt>
    <dgm:pt modelId="{59974942-6540-E346-B5E7-233037A70750}" type="pres">
      <dgm:prSet presAssocID="{DE1FBA91-98BF-584F-AE81-969259B924A8}" presName="text4" presStyleLbl="revTx" presStyleIdx="3" presStyleCnt="4">
        <dgm:presLayoutVars>
          <dgm:bulletEnabled val="1"/>
        </dgm:presLayoutVars>
      </dgm:prSet>
      <dgm:spPr/>
    </dgm:pt>
    <dgm:pt modelId="{27E7D5C5-1D05-4643-98C5-691ECBA0C824}" type="pres">
      <dgm:prSet presAssocID="{DE1FBA91-98BF-584F-AE81-969259B924A8}" presName="line4" presStyleLbl="callout" presStyleIdx="6" presStyleCnt="8"/>
      <dgm:spPr/>
    </dgm:pt>
    <dgm:pt modelId="{7BE9FE11-5558-804C-979D-8373E39A97A7}" type="pres">
      <dgm:prSet presAssocID="{DE1FBA91-98BF-584F-AE81-969259B924A8}" presName="d4" presStyleLbl="callout" presStyleIdx="7" presStyleCnt="8"/>
      <dgm:spPr/>
    </dgm:pt>
  </dgm:ptLst>
  <dgm:cxnLst>
    <dgm:cxn modelId="{4CF90F34-4945-8A48-A25A-72397A9EDAA3}" type="presOf" srcId="{9EC3A9FD-FD25-6145-8D66-85CF64F3EEB8}" destId="{EFDB7C17-1C0C-3844-A36B-4970A2D8C17B}" srcOrd="0" destOrd="0" presId="urn:microsoft.com/office/officeart/2005/8/layout/target1"/>
    <dgm:cxn modelId="{C8E04F38-8853-B942-952E-2DBB2DF89398}" srcId="{B8E680B1-055D-A941-9CE2-686843987DE0}" destId="{9EC3A9FD-FD25-6145-8D66-85CF64F3EEB8}" srcOrd="0" destOrd="0" parTransId="{83FCE7E0-A05B-3243-A2CB-75D0F627FBDC}" sibTransId="{37EF5A0F-1005-DF4B-AE3B-3819F8038D51}"/>
    <dgm:cxn modelId="{5164423F-F9E0-1047-8011-53CBE745F7E9}" srcId="{B8E680B1-055D-A941-9CE2-686843987DE0}" destId="{DE1FBA91-98BF-584F-AE81-969259B924A8}" srcOrd="3" destOrd="0" parTransId="{B12167C4-0CB8-9D4E-B0CD-C3D413EFDADB}" sibTransId="{C6C75E8F-40CA-2347-8F92-88BAD3230CD5}"/>
    <dgm:cxn modelId="{336D31A6-12A5-0845-A115-5B2AD1444F4A}" type="presOf" srcId="{776D0A0A-1F3B-6343-B11E-4DBCD50FBCE4}" destId="{F2861C15-D3C3-4E4D-8C95-2AC1B6EABFAD}" srcOrd="0" destOrd="0" presId="urn:microsoft.com/office/officeart/2005/8/layout/target1"/>
    <dgm:cxn modelId="{21C3E4A8-9E0D-7949-9CAE-14EE31F5397C}" srcId="{B8E680B1-055D-A941-9CE2-686843987DE0}" destId="{776D0A0A-1F3B-6343-B11E-4DBCD50FBCE4}" srcOrd="1" destOrd="0" parTransId="{CF80C0BD-E8C0-104A-9205-ECBF8530AD05}" sibTransId="{C5AA3CF8-1814-A64B-848E-B92A011D82D0}"/>
    <dgm:cxn modelId="{74DCE1B7-730B-074C-A8F2-7DB0DF385104}" srcId="{B8E680B1-055D-A941-9CE2-686843987DE0}" destId="{19B0B413-8163-9449-9CA0-3BB09D10179B}" srcOrd="2" destOrd="0" parTransId="{01DF65A4-DF88-514B-B013-3A1D706EC855}" sibTransId="{F3F0C45B-F782-4B48-8C6C-307F2D29E35D}"/>
    <dgm:cxn modelId="{6A3977CE-F4F9-2D45-9CC5-3DFAEFF0E35C}" type="presOf" srcId="{DE1FBA91-98BF-584F-AE81-969259B924A8}" destId="{59974942-6540-E346-B5E7-233037A70750}" srcOrd="0" destOrd="0" presId="urn:microsoft.com/office/officeart/2005/8/layout/target1"/>
    <dgm:cxn modelId="{E39624F0-37BA-4440-968F-5F77B4A6EE15}" type="presOf" srcId="{B8E680B1-055D-A941-9CE2-686843987DE0}" destId="{5AE525C6-5EBB-8743-BE74-96E61BBB5046}" srcOrd="0" destOrd="0" presId="urn:microsoft.com/office/officeart/2005/8/layout/target1"/>
    <dgm:cxn modelId="{BD04E8F1-A961-A445-9CD5-6B30EDCA90B9}" type="presOf" srcId="{19B0B413-8163-9449-9CA0-3BB09D10179B}" destId="{F692B867-92A7-4448-B927-407313E2EE6A}" srcOrd="0" destOrd="0" presId="urn:microsoft.com/office/officeart/2005/8/layout/target1"/>
    <dgm:cxn modelId="{92E17AE6-9E95-AA40-A5DC-1B7DDB86E36B}" type="presParOf" srcId="{5AE525C6-5EBB-8743-BE74-96E61BBB5046}" destId="{A709A657-065B-7C4F-9C77-D7CF22D0329C}" srcOrd="0" destOrd="0" presId="urn:microsoft.com/office/officeart/2005/8/layout/target1"/>
    <dgm:cxn modelId="{42538A3C-680B-634B-81E2-7D19B8E9C478}" type="presParOf" srcId="{5AE525C6-5EBB-8743-BE74-96E61BBB5046}" destId="{EFDB7C17-1C0C-3844-A36B-4970A2D8C17B}" srcOrd="1" destOrd="0" presId="urn:microsoft.com/office/officeart/2005/8/layout/target1"/>
    <dgm:cxn modelId="{355F48FA-A986-1A45-9499-35A1B718B0B1}" type="presParOf" srcId="{5AE525C6-5EBB-8743-BE74-96E61BBB5046}" destId="{D532B2EB-8864-B04B-BDFD-857DE7D66D37}" srcOrd="2" destOrd="0" presId="urn:microsoft.com/office/officeart/2005/8/layout/target1"/>
    <dgm:cxn modelId="{811476D7-4EBC-934A-A247-79028B5465C2}" type="presParOf" srcId="{5AE525C6-5EBB-8743-BE74-96E61BBB5046}" destId="{1A127FDF-DCF6-7142-80CF-C9A0284936AD}" srcOrd="3" destOrd="0" presId="urn:microsoft.com/office/officeart/2005/8/layout/target1"/>
    <dgm:cxn modelId="{00695981-A990-9F45-89E4-14E810780784}" type="presParOf" srcId="{5AE525C6-5EBB-8743-BE74-96E61BBB5046}" destId="{5A56A0EF-05CE-9446-8783-6565EE447900}" srcOrd="4" destOrd="0" presId="urn:microsoft.com/office/officeart/2005/8/layout/target1"/>
    <dgm:cxn modelId="{72B5A0FC-5B03-9148-A01A-5563DE3BE1FA}" type="presParOf" srcId="{5AE525C6-5EBB-8743-BE74-96E61BBB5046}" destId="{F2861C15-D3C3-4E4D-8C95-2AC1B6EABFAD}" srcOrd="5" destOrd="0" presId="urn:microsoft.com/office/officeart/2005/8/layout/target1"/>
    <dgm:cxn modelId="{D09CDA20-1811-3646-89FE-84B67DD1F1CB}" type="presParOf" srcId="{5AE525C6-5EBB-8743-BE74-96E61BBB5046}" destId="{88E74669-AAAE-FD46-9CD3-282BC8D0E0A2}" srcOrd="6" destOrd="0" presId="urn:microsoft.com/office/officeart/2005/8/layout/target1"/>
    <dgm:cxn modelId="{BCE44DE1-964F-6D4A-8502-9F8E9DD5F1E8}" type="presParOf" srcId="{5AE525C6-5EBB-8743-BE74-96E61BBB5046}" destId="{BB2C4887-3D83-9749-A1CE-4EAEF29C1EC5}" srcOrd="7" destOrd="0" presId="urn:microsoft.com/office/officeart/2005/8/layout/target1"/>
    <dgm:cxn modelId="{AC50BB82-ED8B-3D4E-ACC8-76AD61D55E9A}" type="presParOf" srcId="{5AE525C6-5EBB-8743-BE74-96E61BBB5046}" destId="{CFB731FA-260A-C840-BB3D-997961A96011}" srcOrd="8" destOrd="0" presId="urn:microsoft.com/office/officeart/2005/8/layout/target1"/>
    <dgm:cxn modelId="{F531E146-44BB-4044-BBE8-4F5B391C6728}" type="presParOf" srcId="{5AE525C6-5EBB-8743-BE74-96E61BBB5046}" destId="{F692B867-92A7-4448-B927-407313E2EE6A}" srcOrd="9" destOrd="0" presId="urn:microsoft.com/office/officeart/2005/8/layout/target1"/>
    <dgm:cxn modelId="{0F08D424-A284-1540-A5F4-885C25148929}" type="presParOf" srcId="{5AE525C6-5EBB-8743-BE74-96E61BBB5046}" destId="{42C01983-52E2-3D4B-B477-5BDEEA1C98A3}" srcOrd="10" destOrd="0" presId="urn:microsoft.com/office/officeart/2005/8/layout/target1"/>
    <dgm:cxn modelId="{A10A187B-0459-C344-9FE3-15D1EFF9E7DC}" type="presParOf" srcId="{5AE525C6-5EBB-8743-BE74-96E61BBB5046}" destId="{FEB3B48E-0E35-2446-950B-62F954F5D58C}" srcOrd="11" destOrd="0" presId="urn:microsoft.com/office/officeart/2005/8/layout/target1"/>
    <dgm:cxn modelId="{570340E7-8F63-1649-858A-5CA304D1323F}" type="presParOf" srcId="{5AE525C6-5EBB-8743-BE74-96E61BBB5046}" destId="{EAD40B56-5CB5-E14F-94C7-89A80D3E0946}" srcOrd="12" destOrd="0" presId="urn:microsoft.com/office/officeart/2005/8/layout/target1"/>
    <dgm:cxn modelId="{15CA1544-9E6E-434B-958D-2D992DCAF3FC}" type="presParOf" srcId="{5AE525C6-5EBB-8743-BE74-96E61BBB5046}" destId="{59974942-6540-E346-B5E7-233037A70750}" srcOrd="13" destOrd="0" presId="urn:microsoft.com/office/officeart/2005/8/layout/target1"/>
    <dgm:cxn modelId="{DF75574A-1D7D-9F49-91D3-958E0CB13A57}" type="presParOf" srcId="{5AE525C6-5EBB-8743-BE74-96E61BBB5046}" destId="{27E7D5C5-1D05-4643-98C5-691ECBA0C824}" srcOrd="14" destOrd="0" presId="urn:microsoft.com/office/officeart/2005/8/layout/target1"/>
    <dgm:cxn modelId="{FA0F2403-A226-DA49-8B93-8501B39633B3}" type="presParOf" srcId="{5AE525C6-5EBB-8743-BE74-96E61BBB5046}" destId="{7BE9FE11-5558-804C-979D-8373E39A97A7}" srcOrd="15" destOrd="0" presId="urn:microsoft.com/office/officeart/2005/8/layout/targe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AE691F-CFD9-5146-A441-6468B02AA22A}" type="doc">
      <dgm:prSet loTypeId="urn:microsoft.com/office/officeart/2005/8/layout/vList4" loCatId="" qsTypeId="urn:microsoft.com/office/officeart/2005/8/quickstyle/simple4" qsCatId="simple" csTypeId="urn:microsoft.com/office/officeart/2005/8/colors/accent1_2" csCatId="accent1" phldr="1"/>
      <dgm:spPr/>
      <dgm:t>
        <a:bodyPr/>
        <a:lstStyle/>
        <a:p>
          <a:endParaRPr lang="en-US"/>
        </a:p>
      </dgm:t>
    </dgm:pt>
    <dgm:pt modelId="{C7A2558C-F1BB-824B-8CBC-F149F1853A3D}">
      <dgm:prSet phldrT="[Text]" custT="1"/>
      <dgm:spPr/>
      <dgm:t>
        <a:bodyPr/>
        <a:lstStyle/>
        <a:p>
          <a:r>
            <a:rPr lang="en-US" sz="1400" dirty="0"/>
            <a:t>Livelihoods/Scale Agriculture</a:t>
          </a:r>
        </a:p>
      </dgm:t>
    </dgm:pt>
    <dgm:pt modelId="{E95664E4-CBCA-9F43-BB89-8AA258A7B96F}" type="parTrans" cxnId="{79A5180D-7C9B-F24D-AA74-B11CBC2C89FC}">
      <dgm:prSet/>
      <dgm:spPr/>
      <dgm:t>
        <a:bodyPr/>
        <a:lstStyle/>
        <a:p>
          <a:endParaRPr lang="en-US"/>
        </a:p>
      </dgm:t>
    </dgm:pt>
    <dgm:pt modelId="{8108D01F-6A60-7B44-AE70-5406F2AA093A}" type="sibTrans" cxnId="{79A5180D-7C9B-F24D-AA74-B11CBC2C89FC}">
      <dgm:prSet/>
      <dgm:spPr/>
      <dgm:t>
        <a:bodyPr/>
        <a:lstStyle/>
        <a:p>
          <a:endParaRPr lang="en-US"/>
        </a:p>
      </dgm:t>
    </dgm:pt>
    <dgm:pt modelId="{6101D6E1-A0B7-AA4E-A4E5-C994168771EF}">
      <dgm:prSet phldrT="[Text]" custT="1"/>
      <dgm:spPr/>
      <dgm:t>
        <a:bodyPr/>
        <a:lstStyle/>
        <a:p>
          <a:r>
            <a:rPr lang="en-US" sz="1400" dirty="0"/>
            <a:t>Fight food insecurities, poor nutrition and create jobs for Africa’s most populous country </a:t>
          </a:r>
        </a:p>
      </dgm:t>
    </dgm:pt>
    <dgm:pt modelId="{82E6BDB4-69F6-0B48-8F85-BDA90FA97E68}" type="parTrans" cxnId="{B51A9B09-BFC0-974D-98B4-26B4952C9CC6}">
      <dgm:prSet/>
      <dgm:spPr/>
      <dgm:t>
        <a:bodyPr/>
        <a:lstStyle/>
        <a:p>
          <a:endParaRPr lang="en-US"/>
        </a:p>
      </dgm:t>
    </dgm:pt>
    <dgm:pt modelId="{4C7D4028-C19E-9049-8AF4-5D6B1EFA10EC}" type="sibTrans" cxnId="{B51A9B09-BFC0-974D-98B4-26B4952C9CC6}">
      <dgm:prSet/>
      <dgm:spPr/>
      <dgm:t>
        <a:bodyPr/>
        <a:lstStyle/>
        <a:p>
          <a:endParaRPr lang="en-US"/>
        </a:p>
      </dgm:t>
    </dgm:pt>
    <dgm:pt modelId="{F3FB33B0-E240-5D4B-AF8C-4B6FF5DCB7C9}">
      <dgm:prSet phldrT="[Text]" custT="1"/>
      <dgm:spPr/>
      <dgm:t>
        <a:bodyPr/>
        <a:lstStyle/>
        <a:p>
          <a:r>
            <a:rPr lang="en-US" sz="1400" dirty="0"/>
            <a:t>Innovation in farming methods to scale production </a:t>
          </a:r>
        </a:p>
      </dgm:t>
    </dgm:pt>
    <dgm:pt modelId="{8389108D-723B-2943-B6C1-2B1AEEC46353}" type="parTrans" cxnId="{4C580600-302E-EE48-8B35-482A41D3D439}">
      <dgm:prSet/>
      <dgm:spPr/>
      <dgm:t>
        <a:bodyPr/>
        <a:lstStyle/>
        <a:p>
          <a:endParaRPr lang="en-US"/>
        </a:p>
      </dgm:t>
    </dgm:pt>
    <dgm:pt modelId="{E3983F67-8665-7E49-B3A0-5806D5C5926B}" type="sibTrans" cxnId="{4C580600-302E-EE48-8B35-482A41D3D439}">
      <dgm:prSet/>
      <dgm:spPr/>
      <dgm:t>
        <a:bodyPr/>
        <a:lstStyle/>
        <a:p>
          <a:endParaRPr lang="en-US"/>
        </a:p>
      </dgm:t>
    </dgm:pt>
    <dgm:pt modelId="{E389A5A2-3652-B547-A551-02184B2C3C8A}">
      <dgm:prSet phldrT="[Text]" custT="1"/>
      <dgm:spPr/>
      <dgm:t>
        <a:bodyPr/>
        <a:lstStyle/>
        <a:p>
          <a:r>
            <a:rPr lang="en-US" sz="1400" dirty="0"/>
            <a:t>Health</a:t>
          </a:r>
        </a:p>
        <a:p>
          <a:r>
            <a:rPr lang="en-US" sz="1400" dirty="0"/>
            <a:t>Build capacity to strengthen health systems at state level by  managing spread and deadly effects of communicable diseases e.g. Covid19, Ebola. Key will be to work in consortium with health donors, UN agencies (WHO), GAVI &amp; *MedShare, Bill and Melinda Gates foundation  </a:t>
          </a:r>
        </a:p>
      </dgm:t>
    </dgm:pt>
    <dgm:pt modelId="{364F300C-3EED-A64A-9927-54272FA02D85}" type="parTrans" cxnId="{85B9C483-FF54-E540-9963-A1114BE81998}">
      <dgm:prSet/>
      <dgm:spPr/>
      <dgm:t>
        <a:bodyPr/>
        <a:lstStyle/>
        <a:p>
          <a:endParaRPr lang="en-US"/>
        </a:p>
      </dgm:t>
    </dgm:pt>
    <dgm:pt modelId="{AEF116AC-62F2-A941-8C0B-1D2DA730555A}" type="sibTrans" cxnId="{85B9C483-FF54-E540-9963-A1114BE81998}">
      <dgm:prSet/>
      <dgm:spPr/>
      <dgm:t>
        <a:bodyPr/>
        <a:lstStyle/>
        <a:p>
          <a:endParaRPr lang="en-US"/>
        </a:p>
      </dgm:t>
    </dgm:pt>
    <dgm:pt modelId="{D7F675AA-C5A6-6B47-A019-835EEB675899}">
      <dgm:prSet phldrT="[Text]" custT="1"/>
      <dgm:spPr/>
      <dgm:t>
        <a:bodyPr/>
        <a:lstStyle/>
        <a:p>
          <a:r>
            <a:rPr lang="en-US" sz="1400" dirty="0"/>
            <a:t>Disaster Relief</a:t>
          </a:r>
        </a:p>
      </dgm:t>
    </dgm:pt>
    <dgm:pt modelId="{7AF0C463-9BFF-944D-9495-266167C89205}" type="parTrans" cxnId="{00EDF09A-D24F-1B46-9AE9-57D5F0B5E041}">
      <dgm:prSet/>
      <dgm:spPr/>
      <dgm:t>
        <a:bodyPr/>
        <a:lstStyle/>
        <a:p>
          <a:endParaRPr lang="en-US"/>
        </a:p>
      </dgm:t>
    </dgm:pt>
    <dgm:pt modelId="{8F63738E-88F6-A643-A1C2-AF643F059F7F}" type="sibTrans" cxnId="{00EDF09A-D24F-1B46-9AE9-57D5F0B5E041}">
      <dgm:prSet/>
      <dgm:spPr/>
      <dgm:t>
        <a:bodyPr/>
        <a:lstStyle/>
        <a:p>
          <a:endParaRPr lang="en-US"/>
        </a:p>
      </dgm:t>
    </dgm:pt>
    <dgm:pt modelId="{0CA2B7B7-D31F-1B4F-9D69-1D20A0198034}">
      <dgm:prSet phldrT="[Text]" custT="1"/>
      <dgm:spPr/>
      <dgm:t>
        <a:bodyPr/>
        <a:lstStyle/>
        <a:p>
          <a:r>
            <a:rPr lang="en-US" sz="1400" dirty="0"/>
            <a:t>Immediate relief such as cash transfers, food vouchers and  deworming tablets to help fragile communities bounce back from setbacks caused by disasters</a:t>
          </a:r>
        </a:p>
      </dgm:t>
    </dgm:pt>
    <dgm:pt modelId="{797C6830-B92A-DB44-8BD2-C125A73D292B}" type="parTrans" cxnId="{396E3A21-FB22-AB40-917D-F892625AADDF}">
      <dgm:prSet/>
      <dgm:spPr/>
      <dgm:t>
        <a:bodyPr/>
        <a:lstStyle/>
        <a:p>
          <a:endParaRPr lang="en-US"/>
        </a:p>
      </dgm:t>
    </dgm:pt>
    <dgm:pt modelId="{DA28C045-F57E-F44A-A03B-D52C267C1EEC}" type="sibTrans" cxnId="{396E3A21-FB22-AB40-917D-F892625AADDF}">
      <dgm:prSet/>
      <dgm:spPr/>
      <dgm:t>
        <a:bodyPr/>
        <a:lstStyle/>
        <a:p>
          <a:endParaRPr lang="en-US"/>
        </a:p>
      </dgm:t>
    </dgm:pt>
    <dgm:pt modelId="{59025270-7520-4D40-80E9-1686D0BCA6EA}">
      <dgm:prSet phldrT="[Text]" custT="1"/>
      <dgm:spPr/>
      <dgm:t>
        <a:bodyPr/>
        <a:lstStyle/>
        <a:p>
          <a:r>
            <a:rPr lang="en-US" sz="1400" dirty="0"/>
            <a:t>Build the resilience of communities to withstand shocks caused by: climate, civil unrest or health pandemics (Covid19, Ebola etc.) </a:t>
          </a:r>
        </a:p>
      </dgm:t>
    </dgm:pt>
    <dgm:pt modelId="{A8D8D17C-7416-504C-8749-EA7DFAA7D4E4}" type="parTrans" cxnId="{9C9FE9AA-681B-3C4E-9E11-26B17714C921}">
      <dgm:prSet/>
      <dgm:spPr/>
      <dgm:t>
        <a:bodyPr/>
        <a:lstStyle/>
        <a:p>
          <a:endParaRPr lang="en-US"/>
        </a:p>
      </dgm:t>
    </dgm:pt>
    <dgm:pt modelId="{B63FFFE8-4645-B741-9A39-2F5C46584451}" type="sibTrans" cxnId="{9C9FE9AA-681B-3C4E-9E11-26B17714C921}">
      <dgm:prSet/>
      <dgm:spPr/>
      <dgm:t>
        <a:bodyPr/>
        <a:lstStyle/>
        <a:p>
          <a:endParaRPr lang="en-US"/>
        </a:p>
      </dgm:t>
    </dgm:pt>
    <dgm:pt modelId="{EC78A420-8467-6E4D-962E-2C0F1C16AB69}">
      <dgm:prSet phldrT="[Text]" custT="1"/>
      <dgm:spPr/>
      <dgm:t>
        <a:bodyPr/>
        <a:lstStyle/>
        <a:p>
          <a:r>
            <a:rPr lang="en-US" sz="1400" dirty="0"/>
            <a:t>Connect farmers to supply chains, finance, GAPs, markets</a:t>
          </a:r>
        </a:p>
      </dgm:t>
    </dgm:pt>
    <dgm:pt modelId="{A4AC8362-99CF-184B-B7C0-A6D1F631994E}" type="parTrans" cxnId="{114151E6-F374-9F45-AF5F-BC92BA7E1EF9}">
      <dgm:prSet/>
      <dgm:spPr/>
      <dgm:t>
        <a:bodyPr/>
        <a:lstStyle/>
        <a:p>
          <a:endParaRPr lang="en-US"/>
        </a:p>
      </dgm:t>
    </dgm:pt>
    <dgm:pt modelId="{C8A8B53C-6F1F-D248-8251-7E79B6BD217B}" type="sibTrans" cxnId="{114151E6-F374-9F45-AF5F-BC92BA7E1EF9}">
      <dgm:prSet/>
      <dgm:spPr/>
      <dgm:t>
        <a:bodyPr/>
        <a:lstStyle/>
        <a:p>
          <a:endParaRPr lang="en-US"/>
        </a:p>
      </dgm:t>
    </dgm:pt>
    <dgm:pt modelId="{03B8A0EB-FBE3-B44C-9CEE-DD93FCDB9A5F}" type="pres">
      <dgm:prSet presAssocID="{CAAE691F-CFD9-5146-A441-6468B02AA22A}" presName="linear" presStyleCnt="0">
        <dgm:presLayoutVars>
          <dgm:dir/>
          <dgm:resizeHandles val="exact"/>
        </dgm:presLayoutVars>
      </dgm:prSet>
      <dgm:spPr/>
    </dgm:pt>
    <dgm:pt modelId="{48FDC29B-79BE-B342-BB17-315A1F2E1A4A}" type="pres">
      <dgm:prSet presAssocID="{C7A2558C-F1BB-824B-8CBC-F149F1853A3D}" presName="comp" presStyleCnt="0"/>
      <dgm:spPr/>
    </dgm:pt>
    <dgm:pt modelId="{F81987D3-4BCF-B14B-9CD1-76E429DBA701}" type="pres">
      <dgm:prSet presAssocID="{C7A2558C-F1BB-824B-8CBC-F149F1853A3D}" presName="box" presStyleLbl="node1" presStyleIdx="0" presStyleCnt="3" custLinFactNeighborX="-227" custLinFactNeighborY="3153"/>
      <dgm:spPr/>
    </dgm:pt>
    <dgm:pt modelId="{C31C83FE-C42B-7148-8BBB-F6917A3F6B13}" type="pres">
      <dgm:prSet presAssocID="{C7A2558C-F1BB-824B-8CBC-F149F1853A3D}" presName="img" presStyleLbl="fgImgPlace1" presStyleIdx="0" presStyleCnt="3"/>
      <dgm:spPr>
        <a:blipFill rotWithShape="1">
          <a:blip xmlns:r="http://schemas.openxmlformats.org/officeDocument/2006/relationships" r:embed="rId1"/>
          <a:stretch>
            <a:fillRect/>
          </a:stretch>
        </a:blipFill>
      </dgm:spPr>
    </dgm:pt>
    <dgm:pt modelId="{DE38DEE7-3E50-8347-875D-A3AFCDE0A29E}" type="pres">
      <dgm:prSet presAssocID="{C7A2558C-F1BB-824B-8CBC-F149F1853A3D}" presName="text" presStyleLbl="node1" presStyleIdx="0" presStyleCnt="3">
        <dgm:presLayoutVars>
          <dgm:bulletEnabled val="1"/>
        </dgm:presLayoutVars>
      </dgm:prSet>
      <dgm:spPr/>
    </dgm:pt>
    <dgm:pt modelId="{00E7D834-6EA0-FE48-AA44-CC2C5FCB44F1}" type="pres">
      <dgm:prSet presAssocID="{8108D01F-6A60-7B44-AE70-5406F2AA093A}" presName="spacer" presStyleCnt="0"/>
      <dgm:spPr/>
    </dgm:pt>
    <dgm:pt modelId="{ED150E2B-9E27-F943-81B8-3E6D272CDF3D}" type="pres">
      <dgm:prSet presAssocID="{E389A5A2-3652-B547-A551-02184B2C3C8A}" presName="comp" presStyleCnt="0"/>
      <dgm:spPr/>
    </dgm:pt>
    <dgm:pt modelId="{55E36EFD-A885-A64C-A1EE-93B1C23F8A1D}" type="pres">
      <dgm:prSet presAssocID="{E389A5A2-3652-B547-A551-02184B2C3C8A}" presName="box" presStyleLbl="node1" presStyleIdx="1" presStyleCnt="3"/>
      <dgm:spPr/>
    </dgm:pt>
    <dgm:pt modelId="{0C57F7A2-7FA6-C847-8421-B9334C625B9B}" type="pres">
      <dgm:prSet presAssocID="{E389A5A2-3652-B547-A551-02184B2C3C8A}" presName="img" presStyleLbl="fgImgPlace1" presStyleIdx="1" presStyleCnt="3"/>
      <dgm:spPr>
        <a:blipFill rotWithShape="1">
          <a:blip xmlns:r="http://schemas.openxmlformats.org/officeDocument/2006/relationships" r:embed="rId2"/>
          <a:stretch>
            <a:fillRect/>
          </a:stretch>
        </a:blipFill>
      </dgm:spPr>
    </dgm:pt>
    <dgm:pt modelId="{8F8ADBE5-F5E3-5F40-9323-748993C31B0E}" type="pres">
      <dgm:prSet presAssocID="{E389A5A2-3652-B547-A551-02184B2C3C8A}" presName="text" presStyleLbl="node1" presStyleIdx="1" presStyleCnt="3">
        <dgm:presLayoutVars>
          <dgm:bulletEnabled val="1"/>
        </dgm:presLayoutVars>
      </dgm:prSet>
      <dgm:spPr/>
    </dgm:pt>
    <dgm:pt modelId="{73669E89-070E-8F42-95B4-D7BDE641E2FE}" type="pres">
      <dgm:prSet presAssocID="{AEF116AC-62F2-A941-8C0B-1D2DA730555A}" presName="spacer" presStyleCnt="0"/>
      <dgm:spPr/>
    </dgm:pt>
    <dgm:pt modelId="{A82146DB-0EE6-F240-BB43-2E39BF58D0DC}" type="pres">
      <dgm:prSet presAssocID="{D7F675AA-C5A6-6B47-A019-835EEB675899}" presName="comp" presStyleCnt="0"/>
      <dgm:spPr/>
    </dgm:pt>
    <dgm:pt modelId="{E6AD638C-BC4A-8947-B1C7-3FE69770F885}" type="pres">
      <dgm:prSet presAssocID="{D7F675AA-C5A6-6B47-A019-835EEB675899}" presName="box" presStyleLbl="node1" presStyleIdx="2" presStyleCnt="3"/>
      <dgm:spPr/>
    </dgm:pt>
    <dgm:pt modelId="{28DAF55C-279D-3443-A8F7-4F9429B97642}" type="pres">
      <dgm:prSet presAssocID="{D7F675AA-C5A6-6B47-A019-835EEB675899}" presName="img" presStyleLbl="fgImgPlace1" presStyleIdx="2" presStyleCnt="3"/>
      <dgm:spPr>
        <a:blipFill rotWithShape="1">
          <a:blip xmlns:r="http://schemas.openxmlformats.org/officeDocument/2006/relationships" r:embed="rId3"/>
          <a:stretch>
            <a:fillRect/>
          </a:stretch>
        </a:blipFill>
      </dgm:spPr>
    </dgm:pt>
    <dgm:pt modelId="{7E6C0B4D-F494-AB43-9481-35C4C1A612CB}" type="pres">
      <dgm:prSet presAssocID="{D7F675AA-C5A6-6B47-A019-835EEB675899}" presName="text" presStyleLbl="node1" presStyleIdx="2" presStyleCnt="3">
        <dgm:presLayoutVars>
          <dgm:bulletEnabled val="1"/>
        </dgm:presLayoutVars>
      </dgm:prSet>
      <dgm:spPr/>
    </dgm:pt>
  </dgm:ptLst>
  <dgm:cxnLst>
    <dgm:cxn modelId="{4C580600-302E-EE48-8B35-482A41D3D439}" srcId="{C7A2558C-F1BB-824B-8CBC-F149F1853A3D}" destId="{F3FB33B0-E240-5D4B-AF8C-4B6FF5DCB7C9}" srcOrd="1" destOrd="0" parTransId="{8389108D-723B-2943-B6C1-2B1AEEC46353}" sibTransId="{E3983F67-8665-7E49-B3A0-5806D5C5926B}"/>
    <dgm:cxn modelId="{DD4E1308-88F8-0F49-B8A4-82E5BE91A7BF}" type="presOf" srcId="{F3FB33B0-E240-5D4B-AF8C-4B6FF5DCB7C9}" destId="{DE38DEE7-3E50-8347-875D-A3AFCDE0A29E}" srcOrd="1" destOrd="2" presId="urn:microsoft.com/office/officeart/2005/8/layout/vList4"/>
    <dgm:cxn modelId="{B51A9B09-BFC0-974D-98B4-26B4952C9CC6}" srcId="{C7A2558C-F1BB-824B-8CBC-F149F1853A3D}" destId="{6101D6E1-A0B7-AA4E-A4E5-C994168771EF}" srcOrd="0" destOrd="0" parTransId="{82E6BDB4-69F6-0B48-8F85-BDA90FA97E68}" sibTransId="{4C7D4028-C19E-9049-8AF4-5D6B1EFA10EC}"/>
    <dgm:cxn modelId="{79A5180D-7C9B-F24D-AA74-B11CBC2C89FC}" srcId="{CAAE691F-CFD9-5146-A441-6468B02AA22A}" destId="{C7A2558C-F1BB-824B-8CBC-F149F1853A3D}" srcOrd="0" destOrd="0" parTransId="{E95664E4-CBCA-9F43-BB89-8AA258A7B96F}" sibTransId="{8108D01F-6A60-7B44-AE70-5406F2AA093A}"/>
    <dgm:cxn modelId="{CDEC6814-FEC2-F747-BA27-A58DAF1A50BA}" type="presOf" srcId="{C7A2558C-F1BB-824B-8CBC-F149F1853A3D}" destId="{DE38DEE7-3E50-8347-875D-A3AFCDE0A29E}" srcOrd="1" destOrd="0" presId="urn:microsoft.com/office/officeart/2005/8/layout/vList4"/>
    <dgm:cxn modelId="{B4703116-5D91-4D40-9C24-E557C5814AAE}" type="presOf" srcId="{0CA2B7B7-D31F-1B4F-9D69-1D20A0198034}" destId="{E6AD638C-BC4A-8947-B1C7-3FE69770F885}" srcOrd="0" destOrd="1" presId="urn:microsoft.com/office/officeart/2005/8/layout/vList4"/>
    <dgm:cxn modelId="{D2DFA51E-67B4-1A46-BF87-F90103561672}" type="presOf" srcId="{D7F675AA-C5A6-6B47-A019-835EEB675899}" destId="{E6AD638C-BC4A-8947-B1C7-3FE69770F885}" srcOrd="0" destOrd="0" presId="urn:microsoft.com/office/officeart/2005/8/layout/vList4"/>
    <dgm:cxn modelId="{396E3A21-FB22-AB40-917D-F892625AADDF}" srcId="{D7F675AA-C5A6-6B47-A019-835EEB675899}" destId="{0CA2B7B7-D31F-1B4F-9D69-1D20A0198034}" srcOrd="0" destOrd="0" parTransId="{797C6830-B92A-DB44-8BD2-C125A73D292B}" sibTransId="{DA28C045-F57E-F44A-A03B-D52C267C1EEC}"/>
    <dgm:cxn modelId="{222D7721-A239-D240-9C44-8E0A7C056827}" type="presOf" srcId="{C7A2558C-F1BB-824B-8CBC-F149F1853A3D}" destId="{F81987D3-4BCF-B14B-9CD1-76E429DBA701}" srcOrd="0" destOrd="0" presId="urn:microsoft.com/office/officeart/2005/8/layout/vList4"/>
    <dgm:cxn modelId="{52527E49-262B-4B45-A14D-FD8113DCF967}" type="presOf" srcId="{F3FB33B0-E240-5D4B-AF8C-4B6FF5DCB7C9}" destId="{F81987D3-4BCF-B14B-9CD1-76E429DBA701}" srcOrd="0" destOrd="2" presId="urn:microsoft.com/office/officeart/2005/8/layout/vList4"/>
    <dgm:cxn modelId="{1B63714E-8996-C54B-9100-2F491E53B417}" type="presOf" srcId="{EC78A420-8467-6E4D-962E-2C0F1C16AB69}" destId="{F81987D3-4BCF-B14B-9CD1-76E429DBA701}" srcOrd="0" destOrd="3" presId="urn:microsoft.com/office/officeart/2005/8/layout/vList4"/>
    <dgm:cxn modelId="{1F69F352-51CC-314E-911B-27D16E7FC5B9}" type="presOf" srcId="{0CA2B7B7-D31F-1B4F-9D69-1D20A0198034}" destId="{7E6C0B4D-F494-AB43-9481-35C4C1A612CB}" srcOrd="1" destOrd="1" presId="urn:microsoft.com/office/officeart/2005/8/layout/vList4"/>
    <dgm:cxn modelId="{1265665D-0EE9-AD41-ABBD-1AC14431655B}" type="presOf" srcId="{CAAE691F-CFD9-5146-A441-6468B02AA22A}" destId="{03B8A0EB-FBE3-B44C-9CEE-DD93FCDB9A5F}" srcOrd="0" destOrd="0" presId="urn:microsoft.com/office/officeart/2005/8/layout/vList4"/>
    <dgm:cxn modelId="{4077A85E-F337-014B-88B7-1BBB075C9FB6}" type="presOf" srcId="{59025270-7520-4D40-80E9-1686D0BCA6EA}" destId="{7E6C0B4D-F494-AB43-9481-35C4C1A612CB}" srcOrd="1" destOrd="2" presId="urn:microsoft.com/office/officeart/2005/8/layout/vList4"/>
    <dgm:cxn modelId="{17E09A6D-BF37-154A-8010-D9D828B799B1}" type="presOf" srcId="{E389A5A2-3652-B547-A551-02184B2C3C8A}" destId="{8F8ADBE5-F5E3-5F40-9323-748993C31B0E}" srcOrd="1" destOrd="0" presId="urn:microsoft.com/office/officeart/2005/8/layout/vList4"/>
    <dgm:cxn modelId="{85B9C483-FF54-E540-9963-A1114BE81998}" srcId="{CAAE691F-CFD9-5146-A441-6468B02AA22A}" destId="{E389A5A2-3652-B547-A551-02184B2C3C8A}" srcOrd="1" destOrd="0" parTransId="{364F300C-3EED-A64A-9927-54272FA02D85}" sibTransId="{AEF116AC-62F2-A941-8C0B-1D2DA730555A}"/>
    <dgm:cxn modelId="{00EDF09A-D24F-1B46-9AE9-57D5F0B5E041}" srcId="{CAAE691F-CFD9-5146-A441-6468B02AA22A}" destId="{D7F675AA-C5A6-6B47-A019-835EEB675899}" srcOrd="2" destOrd="0" parTransId="{7AF0C463-9BFF-944D-9495-266167C89205}" sibTransId="{8F63738E-88F6-A643-A1C2-AF643F059F7F}"/>
    <dgm:cxn modelId="{3D37389D-00A9-7B41-9F07-385D49CC20DE}" type="presOf" srcId="{E389A5A2-3652-B547-A551-02184B2C3C8A}" destId="{55E36EFD-A885-A64C-A1EE-93B1C23F8A1D}" srcOrd="0" destOrd="0" presId="urn:microsoft.com/office/officeart/2005/8/layout/vList4"/>
    <dgm:cxn modelId="{A01F019E-AA62-F849-A2F1-67DC8DC6CACB}" type="presOf" srcId="{6101D6E1-A0B7-AA4E-A4E5-C994168771EF}" destId="{DE38DEE7-3E50-8347-875D-A3AFCDE0A29E}" srcOrd="1" destOrd="1" presId="urn:microsoft.com/office/officeart/2005/8/layout/vList4"/>
    <dgm:cxn modelId="{9C9FE9AA-681B-3C4E-9E11-26B17714C921}" srcId="{D7F675AA-C5A6-6B47-A019-835EEB675899}" destId="{59025270-7520-4D40-80E9-1686D0BCA6EA}" srcOrd="1" destOrd="0" parTransId="{A8D8D17C-7416-504C-8749-EA7DFAA7D4E4}" sibTransId="{B63FFFE8-4645-B741-9A39-2F5C46584451}"/>
    <dgm:cxn modelId="{4137F6BC-C7DC-9B48-A135-73DC439A36C0}" type="presOf" srcId="{6101D6E1-A0B7-AA4E-A4E5-C994168771EF}" destId="{F81987D3-4BCF-B14B-9CD1-76E429DBA701}" srcOrd="0" destOrd="1" presId="urn:microsoft.com/office/officeart/2005/8/layout/vList4"/>
    <dgm:cxn modelId="{7CC951BD-706A-414F-AE46-C0A67FBA43ED}" type="presOf" srcId="{EC78A420-8467-6E4D-962E-2C0F1C16AB69}" destId="{DE38DEE7-3E50-8347-875D-A3AFCDE0A29E}" srcOrd="1" destOrd="3" presId="urn:microsoft.com/office/officeart/2005/8/layout/vList4"/>
    <dgm:cxn modelId="{06DB06D1-AF71-9446-B845-586DD3DD2D04}" type="presOf" srcId="{D7F675AA-C5A6-6B47-A019-835EEB675899}" destId="{7E6C0B4D-F494-AB43-9481-35C4C1A612CB}" srcOrd="1" destOrd="0" presId="urn:microsoft.com/office/officeart/2005/8/layout/vList4"/>
    <dgm:cxn modelId="{114151E6-F374-9F45-AF5F-BC92BA7E1EF9}" srcId="{C7A2558C-F1BB-824B-8CBC-F149F1853A3D}" destId="{EC78A420-8467-6E4D-962E-2C0F1C16AB69}" srcOrd="2" destOrd="0" parTransId="{A4AC8362-99CF-184B-B7C0-A6D1F631994E}" sibTransId="{C8A8B53C-6F1F-D248-8251-7E79B6BD217B}"/>
    <dgm:cxn modelId="{7E649AED-5926-7C4F-8B0F-94E754EF2CB2}" type="presOf" srcId="{59025270-7520-4D40-80E9-1686D0BCA6EA}" destId="{E6AD638C-BC4A-8947-B1C7-3FE69770F885}" srcOrd="0" destOrd="2" presId="urn:microsoft.com/office/officeart/2005/8/layout/vList4"/>
    <dgm:cxn modelId="{1A7D7DE9-05F5-9744-B154-8B94D18CECF1}" type="presParOf" srcId="{03B8A0EB-FBE3-B44C-9CEE-DD93FCDB9A5F}" destId="{48FDC29B-79BE-B342-BB17-315A1F2E1A4A}" srcOrd="0" destOrd="0" presId="urn:microsoft.com/office/officeart/2005/8/layout/vList4"/>
    <dgm:cxn modelId="{1A9CCA30-E536-3144-A709-BC5C6BAB2289}" type="presParOf" srcId="{48FDC29B-79BE-B342-BB17-315A1F2E1A4A}" destId="{F81987D3-4BCF-B14B-9CD1-76E429DBA701}" srcOrd="0" destOrd="0" presId="urn:microsoft.com/office/officeart/2005/8/layout/vList4"/>
    <dgm:cxn modelId="{00600A95-B107-1C4C-8F84-A331E3F3FC24}" type="presParOf" srcId="{48FDC29B-79BE-B342-BB17-315A1F2E1A4A}" destId="{C31C83FE-C42B-7148-8BBB-F6917A3F6B13}" srcOrd="1" destOrd="0" presId="urn:microsoft.com/office/officeart/2005/8/layout/vList4"/>
    <dgm:cxn modelId="{58F42D4B-FF92-4047-916A-9752B3AB04E2}" type="presParOf" srcId="{48FDC29B-79BE-B342-BB17-315A1F2E1A4A}" destId="{DE38DEE7-3E50-8347-875D-A3AFCDE0A29E}" srcOrd="2" destOrd="0" presId="urn:microsoft.com/office/officeart/2005/8/layout/vList4"/>
    <dgm:cxn modelId="{C5DB9D85-0E3E-434F-88C2-F5E90454CE6A}" type="presParOf" srcId="{03B8A0EB-FBE3-B44C-9CEE-DD93FCDB9A5F}" destId="{00E7D834-6EA0-FE48-AA44-CC2C5FCB44F1}" srcOrd="1" destOrd="0" presId="urn:microsoft.com/office/officeart/2005/8/layout/vList4"/>
    <dgm:cxn modelId="{F015D426-1ED6-AF45-BC1E-2BB9125252B9}" type="presParOf" srcId="{03B8A0EB-FBE3-B44C-9CEE-DD93FCDB9A5F}" destId="{ED150E2B-9E27-F943-81B8-3E6D272CDF3D}" srcOrd="2" destOrd="0" presId="urn:microsoft.com/office/officeart/2005/8/layout/vList4"/>
    <dgm:cxn modelId="{C9902580-190D-164F-BEEE-721508143AA4}" type="presParOf" srcId="{ED150E2B-9E27-F943-81B8-3E6D272CDF3D}" destId="{55E36EFD-A885-A64C-A1EE-93B1C23F8A1D}" srcOrd="0" destOrd="0" presId="urn:microsoft.com/office/officeart/2005/8/layout/vList4"/>
    <dgm:cxn modelId="{EA3FC4BF-01BB-4348-B109-5A618E9A2BAE}" type="presParOf" srcId="{ED150E2B-9E27-F943-81B8-3E6D272CDF3D}" destId="{0C57F7A2-7FA6-C847-8421-B9334C625B9B}" srcOrd="1" destOrd="0" presId="urn:microsoft.com/office/officeart/2005/8/layout/vList4"/>
    <dgm:cxn modelId="{3BECBD72-AB97-F041-B56A-44123CED081C}" type="presParOf" srcId="{ED150E2B-9E27-F943-81B8-3E6D272CDF3D}" destId="{8F8ADBE5-F5E3-5F40-9323-748993C31B0E}" srcOrd="2" destOrd="0" presId="urn:microsoft.com/office/officeart/2005/8/layout/vList4"/>
    <dgm:cxn modelId="{8966044D-29F4-9A4A-A803-E3881A8805F8}" type="presParOf" srcId="{03B8A0EB-FBE3-B44C-9CEE-DD93FCDB9A5F}" destId="{73669E89-070E-8F42-95B4-D7BDE641E2FE}" srcOrd="3" destOrd="0" presId="urn:microsoft.com/office/officeart/2005/8/layout/vList4"/>
    <dgm:cxn modelId="{C16AFF54-67B2-0443-A582-BF829ED0DB75}" type="presParOf" srcId="{03B8A0EB-FBE3-B44C-9CEE-DD93FCDB9A5F}" destId="{A82146DB-0EE6-F240-BB43-2E39BF58D0DC}" srcOrd="4" destOrd="0" presId="urn:microsoft.com/office/officeart/2005/8/layout/vList4"/>
    <dgm:cxn modelId="{CA21553A-9184-2345-9E99-CEFCBB5A94DA}" type="presParOf" srcId="{A82146DB-0EE6-F240-BB43-2E39BF58D0DC}" destId="{E6AD638C-BC4A-8947-B1C7-3FE69770F885}" srcOrd="0" destOrd="0" presId="urn:microsoft.com/office/officeart/2005/8/layout/vList4"/>
    <dgm:cxn modelId="{EF9EF969-3B45-2F46-8D1E-E5FD14B840D6}" type="presParOf" srcId="{A82146DB-0EE6-F240-BB43-2E39BF58D0DC}" destId="{28DAF55C-279D-3443-A8F7-4F9429B97642}" srcOrd="1" destOrd="0" presId="urn:microsoft.com/office/officeart/2005/8/layout/vList4"/>
    <dgm:cxn modelId="{6DA0CDAD-4195-BF42-9701-CD3BF1E42041}" type="presParOf" srcId="{A82146DB-0EE6-F240-BB43-2E39BF58D0DC}" destId="{7E6C0B4D-F494-AB43-9481-35C4C1A612CB}" srcOrd="2" destOrd="0" presId="urn:microsoft.com/office/officeart/2005/8/layout/vList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5C45B79-7C53-B249-AC20-EC1F9B1830A9}" type="doc">
      <dgm:prSet loTypeId="urn:microsoft.com/office/officeart/2005/8/layout/vList4" loCatId="" qsTypeId="urn:microsoft.com/office/officeart/2005/8/quickstyle/simple4" qsCatId="simple" csTypeId="urn:microsoft.com/office/officeart/2005/8/colors/accent1_2" csCatId="accent1" phldr="1"/>
      <dgm:spPr/>
      <dgm:t>
        <a:bodyPr/>
        <a:lstStyle/>
        <a:p>
          <a:endParaRPr lang="en-US"/>
        </a:p>
      </dgm:t>
    </dgm:pt>
    <dgm:pt modelId="{C8488ED9-640A-EA41-944F-5EAFBC4279E7}" type="pres">
      <dgm:prSet presAssocID="{85C45B79-7C53-B249-AC20-EC1F9B1830A9}" presName="linear" presStyleCnt="0">
        <dgm:presLayoutVars>
          <dgm:dir/>
          <dgm:resizeHandles val="exact"/>
        </dgm:presLayoutVars>
      </dgm:prSet>
      <dgm:spPr/>
    </dgm:pt>
  </dgm:ptLst>
  <dgm:cxnLst>
    <dgm:cxn modelId="{1FB9D740-9D11-9740-944D-D97C384C23F2}" type="presOf" srcId="{85C45B79-7C53-B249-AC20-EC1F9B1830A9}" destId="{C8488ED9-640A-EA41-944F-5EAFBC4279E7}" srcOrd="0"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8C0FD77-D949-4A41-8354-898DBBA482EF}" type="doc">
      <dgm:prSet loTypeId="urn:microsoft.com/office/officeart/2005/8/layout/funnel1" loCatId="" qsTypeId="urn:microsoft.com/office/officeart/2005/8/quickstyle/simple4" qsCatId="simple" csTypeId="urn:microsoft.com/office/officeart/2005/8/colors/accent1_2" csCatId="accent1" phldr="1"/>
      <dgm:spPr/>
      <dgm:t>
        <a:bodyPr/>
        <a:lstStyle/>
        <a:p>
          <a:endParaRPr lang="en-US"/>
        </a:p>
      </dgm:t>
    </dgm:pt>
    <dgm:pt modelId="{1051932F-5498-C048-BFB8-5003C60A172A}">
      <dgm:prSet phldrT="[Text]"/>
      <dgm:spPr/>
      <dgm:t>
        <a:bodyPr/>
        <a:lstStyle/>
        <a:p>
          <a:r>
            <a:rPr lang="en-US" dirty="0"/>
            <a:t>2. Health</a:t>
          </a:r>
        </a:p>
      </dgm:t>
    </dgm:pt>
    <dgm:pt modelId="{58BB5AD3-1D32-8F4B-BD27-5BD28003C46D}" type="parTrans" cxnId="{DCBE7551-6A16-B246-888B-1F6CB6BDAECF}">
      <dgm:prSet/>
      <dgm:spPr/>
      <dgm:t>
        <a:bodyPr/>
        <a:lstStyle/>
        <a:p>
          <a:endParaRPr lang="en-US"/>
        </a:p>
      </dgm:t>
    </dgm:pt>
    <dgm:pt modelId="{2160F7B4-6E13-0B40-883F-D790DAADF913}" type="sibTrans" cxnId="{DCBE7551-6A16-B246-888B-1F6CB6BDAECF}">
      <dgm:prSet/>
      <dgm:spPr/>
      <dgm:t>
        <a:bodyPr/>
        <a:lstStyle/>
        <a:p>
          <a:endParaRPr lang="en-US"/>
        </a:p>
      </dgm:t>
    </dgm:pt>
    <dgm:pt modelId="{EE47A8F3-FFEC-AF4C-AD42-A21ABBAF2D13}">
      <dgm:prSet phldrT="[Text]"/>
      <dgm:spPr/>
      <dgm:t>
        <a:bodyPr/>
        <a:lstStyle/>
        <a:p>
          <a:r>
            <a:rPr lang="en-US" dirty="0"/>
            <a:t>1. Livelihoods</a:t>
          </a:r>
        </a:p>
      </dgm:t>
    </dgm:pt>
    <dgm:pt modelId="{CEB9ED68-6457-FA48-8D27-CEBBFE9E2B7E}" type="parTrans" cxnId="{3D507F17-8852-8148-9B80-AFD8A402B4BE}">
      <dgm:prSet/>
      <dgm:spPr/>
      <dgm:t>
        <a:bodyPr/>
        <a:lstStyle/>
        <a:p>
          <a:endParaRPr lang="en-US"/>
        </a:p>
      </dgm:t>
    </dgm:pt>
    <dgm:pt modelId="{E847CB8F-6998-7D48-A739-A0B1694D69AB}" type="sibTrans" cxnId="{3D507F17-8852-8148-9B80-AFD8A402B4BE}">
      <dgm:prSet/>
      <dgm:spPr/>
      <dgm:t>
        <a:bodyPr/>
        <a:lstStyle/>
        <a:p>
          <a:endParaRPr lang="en-US"/>
        </a:p>
      </dgm:t>
    </dgm:pt>
    <dgm:pt modelId="{3D207FB0-04F6-4844-9E03-2079D9216A9D}">
      <dgm:prSet phldrT="[Text]"/>
      <dgm:spPr/>
      <dgm:t>
        <a:bodyPr/>
        <a:lstStyle/>
        <a:p>
          <a:r>
            <a:rPr lang="en-US" dirty="0"/>
            <a:t>3. Education</a:t>
          </a:r>
        </a:p>
      </dgm:t>
    </dgm:pt>
    <dgm:pt modelId="{92AD9D2D-3B6D-D24F-87E4-713497FBF927}" type="parTrans" cxnId="{03889544-67BB-FC4D-9150-9055591A7701}">
      <dgm:prSet/>
      <dgm:spPr/>
      <dgm:t>
        <a:bodyPr/>
        <a:lstStyle/>
        <a:p>
          <a:endParaRPr lang="en-US"/>
        </a:p>
      </dgm:t>
    </dgm:pt>
    <dgm:pt modelId="{40F0324A-7239-2E42-A9F7-F8A5EC493CF8}" type="sibTrans" cxnId="{03889544-67BB-FC4D-9150-9055591A7701}">
      <dgm:prSet/>
      <dgm:spPr/>
      <dgm:t>
        <a:bodyPr/>
        <a:lstStyle/>
        <a:p>
          <a:endParaRPr lang="en-US"/>
        </a:p>
      </dgm:t>
    </dgm:pt>
    <dgm:pt modelId="{6F60C5B7-8FA1-D54F-9AAC-59B501DF071F}">
      <dgm:prSet phldrT="[Text]" custT="1"/>
      <dgm:spPr/>
      <dgm:t>
        <a:bodyPr/>
        <a:lstStyle/>
        <a:p>
          <a:r>
            <a:rPr lang="en-US" sz="2000" b="0" dirty="0"/>
            <a:t>Disaster</a:t>
          </a:r>
          <a:r>
            <a:rPr lang="en-US" sz="2000" b="0" baseline="0" dirty="0"/>
            <a:t> Relief Fund/New Revenue streams</a:t>
          </a:r>
          <a:endParaRPr lang="en-US" sz="2000" b="0" dirty="0"/>
        </a:p>
      </dgm:t>
    </dgm:pt>
    <dgm:pt modelId="{E80EA144-187D-334A-8B1F-802929558AC8}" type="parTrans" cxnId="{DFD2F7A0-796E-0D4D-98D2-9A665233543E}">
      <dgm:prSet/>
      <dgm:spPr/>
      <dgm:t>
        <a:bodyPr/>
        <a:lstStyle/>
        <a:p>
          <a:endParaRPr lang="en-US"/>
        </a:p>
      </dgm:t>
    </dgm:pt>
    <dgm:pt modelId="{C944FE94-B5E6-D44A-A04F-7CAF0A9FBEF4}" type="sibTrans" cxnId="{DFD2F7A0-796E-0D4D-98D2-9A665233543E}">
      <dgm:prSet/>
      <dgm:spPr/>
      <dgm:t>
        <a:bodyPr/>
        <a:lstStyle/>
        <a:p>
          <a:endParaRPr lang="en-US"/>
        </a:p>
      </dgm:t>
    </dgm:pt>
    <dgm:pt modelId="{1D1B298B-7945-2E48-A1CE-13679C9508BF}">
      <dgm:prSet phldrT="[Text]" custScaleX="115257" custLinFactNeighborX="415" custLinFactNeighborY="43117"/>
      <dgm:spPr/>
    </dgm:pt>
    <dgm:pt modelId="{85B39710-B3AE-AF42-BF88-06C227CD9720}" type="parTrans" cxnId="{05DCFE8B-80C7-5240-BD7D-4C212C77E20B}">
      <dgm:prSet/>
      <dgm:spPr/>
      <dgm:t>
        <a:bodyPr/>
        <a:lstStyle/>
        <a:p>
          <a:endParaRPr lang="en-US"/>
        </a:p>
      </dgm:t>
    </dgm:pt>
    <dgm:pt modelId="{1146AC29-F262-7749-B15E-E847326C33F0}" type="sibTrans" cxnId="{05DCFE8B-80C7-5240-BD7D-4C212C77E20B}">
      <dgm:prSet/>
      <dgm:spPr/>
      <dgm:t>
        <a:bodyPr/>
        <a:lstStyle/>
        <a:p>
          <a:endParaRPr lang="en-US"/>
        </a:p>
      </dgm:t>
    </dgm:pt>
    <dgm:pt modelId="{CC7B9EA3-72B2-6047-A7E9-58CE301DFE23}" type="pres">
      <dgm:prSet presAssocID="{E8C0FD77-D949-4A41-8354-898DBBA482EF}" presName="Name0" presStyleCnt="0">
        <dgm:presLayoutVars>
          <dgm:chMax val="4"/>
          <dgm:resizeHandles val="exact"/>
        </dgm:presLayoutVars>
      </dgm:prSet>
      <dgm:spPr/>
    </dgm:pt>
    <dgm:pt modelId="{714983CC-1F52-B041-A0F6-70836EB7DEC6}" type="pres">
      <dgm:prSet presAssocID="{E8C0FD77-D949-4A41-8354-898DBBA482EF}" presName="ellipse" presStyleLbl="trBgShp" presStyleIdx="0" presStyleCnt="1"/>
      <dgm:spPr/>
    </dgm:pt>
    <dgm:pt modelId="{64E4C189-0965-7447-8F10-34A9C19240F7}" type="pres">
      <dgm:prSet presAssocID="{E8C0FD77-D949-4A41-8354-898DBBA482EF}" presName="arrow1" presStyleLbl="fgShp" presStyleIdx="0" presStyleCnt="1" custLinFactNeighborX="1990" custLinFactNeighborY="27985"/>
      <dgm:spPr/>
    </dgm:pt>
    <dgm:pt modelId="{4E7A9016-5FCC-C44E-906F-06664D705381}" type="pres">
      <dgm:prSet presAssocID="{E8C0FD77-D949-4A41-8354-898DBBA482EF}" presName="rectangle" presStyleLbl="revTx" presStyleIdx="0" presStyleCnt="1" custScaleX="165838" custScaleY="65872" custLinFactNeighborX="415" custLinFactNeighborY="19900">
        <dgm:presLayoutVars>
          <dgm:bulletEnabled val="1"/>
        </dgm:presLayoutVars>
      </dgm:prSet>
      <dgm:spPr/>
    </dgm:pt>
    <dgm:pt modelId="{3D990349-1834-194E-AF08-25C63ADEEDB8}" type="pres">
      <dgm:prSet presAssocID="{EE47A8F3-FFEC-AF4C-AD42-A21ABBAF2D13}" presName="item1" presStyleLbl="node1" presStyleIdx="0" presStyleCnt="3">
        <dgm:presLayoutVars>
          <dgm:bulletEnabled val="1"/>
        </dgm:presLayoutVars>
      </dgm:prSet>
      <dgm:spPr/>
    </dgm:pt>
    <dgm:pt modelId="{5B1E84A8-8B7B-BC4D-ACA7-0ED6BA3B5F92}" type="pres">
      <dgm:prSet presAssocID="{3D207FB0-04F6-4844-9E03-2079D9216A9D}" presName="item2" presStyleLbl="node1" presStyleIdx="1" presStyleCnt="3">
        <dgm:presLayoutVars>
          <dgm:bulletEnabled val="1"/>
        </dgm:presLayoutVars>
      </dgm:prSet>
      <dgm:spPr/>
    </dgm:pt>
    <dgm:pt modelId="{0A105F02-8863-4040-8E02-4F045F773151}" type="pres">
      <dgm:prSet presAssocID="{6F60C5B7-8FA1-D54F-9AAC-59B501DF071F}" presName="item3" presStyleLbl="node1" presStyleIdx="2" presStyleCnt="3">
        <dgm:presLayoutVars>
          <dgm:bulletEnabled val="1"/>
        </dgm:presLayoutVars>
      </dgm:prSet>
      <dgm:spPr/>
    </dgm:pt>
    <dgm:pt modelId="{CA9CE643-42CF-DC41-9494-C2CFE4149834}" type="pres">
      <dgm:prSet presAssocID="{E8C0FD77-D949-4A41-8354-898DBBA482EF}" presName="funnel" presStyleLbl="trAlignAcc1" presStyleIdx="0" presStyleCnt="1" custLinFactNeighborY="6219"/>
      <dgm:spPr/>
    </dgm:pt>
  </dgm:ptLst>
  <dgm:cxnLst>
    <dgm:cxn modelId="{C5939404-9BE3-D74E-B991-91E137A0CBD1}" type="presOf" srcId="{6F60C5B7-8FA1-D54F-9AAC-59B501DF071F}" destId="{4E7A9016-5FCC-C44E-906F-06664D705381}" srcOrd="0" destOrd="0" presId="urn:microsoft.com/office/officeart/2005/8/layout/funnel1"/>
    <dgm:cxn modelId="{3D507F17-8852-8148-9B80-AFD8A402B4BE}" srcId="{E8C0FD77-D949-4A41-8354-898DBBA482EF}" destId="{EE47A8F3-FFEC-AF4C-AD42-A21ABBAF2D13}" srcOrd="1" destOrd="0" parTransId="{CEB9ED68-6457-FA48-8D27-CEBBFE9E2B7E}" sibTransId="{E847CB8F-6998-7D48-A739-A0B1694D69AB}"/>
    <dgm:cxn modelId="{2CDBBE27-2DC1-504F-B143-886B0724E910}" type="presOf" srcId="{E8C0FD77-D949-4A41-8354-898DBBA482EF}" destId="{CC7B9EA3-72B2-6047-A7E9-58CE301DFE23}" srcOrd="0" destOrd="0" presId="urn:microsoft.com/office/officeart/2005/8/layout/funnel1"/>
    <dgm:cxn modelId="{3DAC572B-188B-194D-A1EC-D81ABCB386E4}" type="presOf" srcId="{EE47A8F3-FFEC-AF4C-AD42-A21ABBAF2D13}" destId="{5B1E84A8-8B7B-BC4D-ACA7-0ED6BA3B5F92}" srcOrd="0" destOrd="0" presId="urn:microsoft.com/office/officeart/2005/8/layout/funnel1"/>
    <dgm:cxn modelId="{03889544-67BB-FC4D-9150-9055591A7701}" srcId="{E8C0FD77-D949-4A41-8354-898DBBA482EF}" destId="{3D207FB0-04F6-4844-9E03-2079D9216A9D}" srcOrd="2" destOrd="0" parTransId="{92AD9D2D-3B6D-D24F-87E4-713497FBF927}" sibTransId="{40F0324A-7239-2E42-A9F7-F8A5EC493CF8}"/>
    <dgm:cxn modelId="{DCBE7551-6A16-B246-888B-1F6CB6BDAECF}" srcId="{E8C0FD77-D949-4A41-8354-898DBBA482EF}" destId="{1051932F-5498-C048-BFB8-5003C60A172A}" srcOrd="0" destOrd="0" parTransId="{58BB5AD3-1D32-8F4B-BD27-5BD28003C46D}" sibTransId="{2160F7B4-6E13-0B40-883F-D790DAADF913}"/>
    <dgm:cxn modelId="{05DCFE8B-80C7-5240-BD7D-4C212C77E20B}" srcId="{E8C0FD77-D949-4A41-8354-898DBBA482EF}" destId="{1D1B298B-7945-2E48-A1CE-13679C9508BF}" srcOrd="4" destOrd="0" parTransId="{85B39710-B3AE-AF42-BF88-06C227CD9720}" sibTransId="{1146AC29-F262-7749-B15E-E847326C33F0}"/>
    <dgm:cxn modelId="{CDF8808C-5F91-DC48-9CBD-22CD34C211E4}" type="presOf" srcId="{1051932F-5498-C048-BFB8-5003C60A172A}" destId="{0A105F02-8863-4040-8E02-4F045F773151}" srcOrd="0" destOrd="0" presId="urn:microsoft.com/office/officeart/2005/8/layout/funnel1"/>
    <dgm:cxn modelId="{BA71088D-5518-A441-8756-61B100355284}" type="presOf" srcId="{3D207FB0-04F6-4844-9E03-2079D9216A9D}" destId="{3D990349-1834-194E-AF08-25C63ADEEDB8}" srcOrd="0" destOrd="0" presId="urn:microsoft.com/office/officeart/2005/8/layout/funnel1"/>
    <dgm:cxn modelId="{DFD2F7A0-796E-0D4D-98D2-9A665233543E}" srcId="{E8C0FD77-D949-4A41-8354-898DBBA482EF}" destId="{6F60C5B7-8FA1-D54F-9AAC-59B501DF071F}" srcOrd="3" destOrd="0" parTransId="{E80EA144-187D-334A-8B1F-802929558AC8}" sibTransId="{C944FE94-B5E6-D44A-A04F-7CAF0A9FBEF4}"/>
    <dgm:cxn modelId="{22BCCD29-3FE8-104A-B6E3-801C1FA5937F}" type="presParOf" srcId="{CC7B9EA3-72B2-6047-A7E9-58CE301DFE23}" destId="{714983CC-1F52-B041-A0F6-70836EB7DEC6}" srcOrd="0" destOrd="0" presId="urn:microsoft.com/office/officeart/2005/8/layout/funnel1"/>
    <dgm:cxn modelId="{D21921DF-4EFC-F445-890B-70F7720BD829}" type="presParOf" srcId="{CC7B9EA3-72B2-6047-A7E9-58CE301DFE23}" destId="{64E4C189-0965-7447-8F10-34A9C19240F7}" srcOrd="1" destOrd="0" presId="urn:microsoft.com/office/officeart/2005/8/layout/funnel1"/>
    <dgm:cxn modelId="{B7D90EFC-4FDA-B04C-A76C-F6880F6EFE69}" type="presParOf" srcId="{CC7B9EA3-72B2-6047-A7E9-58CE301DFE23}" destId="{4E7A9016-5FCC-C44E-906F-06664D705381}" srcOrd="2" destOrd="0" presId="urn:microsoft.com/office/officeart/2005/8/layout/funnel1"/>
    <dgm:cxn modelId="{79E74DD8-715A-2349-A886-2F0C2CFADC92}" type="presParOf" srcId="{CC7B9EA3-72B2-6047-A7E9-58CE301DFE23}" destId="{3D990349-1834-194E-AF08-25C63ADEEDB8}" srcOrd="3" destOrd="0" presId="urn:microsoft.com/office/officeart/2005/8/layout/funnel1"/>
    <dgm:cxn modelId="{CCB8A472-BE92-5748-ABDE-7367B3C9952F}" type="presParOf" srcId="{CC7B9EA3-72B2-6047-A7E9-58CE301DFE23}" destId="{5B1E84A8-8B7B-BC4D-ACA7-0ED6BA3B5F92}" srcOrd="4" destOrd="0" presId="urn:microsoft.com/office/officeart/2005/8/layout/funnel1"/>
    <dgm:cxn modelId="{840916E1-1C57-204F-A29A-68A950C77233}" type="presParOf" srcId="{CC7B9EA3-72B2-6047-A7E9-58CE301DFE23}" destId="{0A105F02-8863-4040-8E02-4F045F773151}" srcOrd="5" destOrd="0" presId="urn:microsoft.com/office/officeart/2005/8/layout/funnel1"/>
    <dgm:cxn modelId="{EE9B0EB1-2582-BA4D-B167-62227163A896}" type="presParOf" srcId="{CC7B9EA3-72B2-6047-A7E9-58CE301DFE23}" destId="{CA9CE643-42CF-DC41-9494-C2CFE4149834}" srcOrd="6" destOrd="0" presId="urn:microsoft.com/office/officeart/2005/8/layout/funnel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B8BFEAB-D90F-4895-83C0-8000182CFC60}"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B729AADB-00CC-4ED8-8377-D707EC0C5777}">
      <dgm:prSet/>
      <dgm:spPr/>
      <dgm:t>
        <a:bodyPr/>
        <a:lstStyle/>
        <a:p>
          <a:pPr>
            <a:lnSpc>
              <a:spcPct val="100000"/>
            </a:lnSpc>
            <a:defRPr cap="all"/>
          </a:pPr>
          <a:r>
            <a:rPr lang="en-US" dirty="0"/>
            <a:t>LIVELIHOODS </a:t>
          </a:r>
        </a:p>
      </dgm:t>
    </dgm:pt>
    <dgm:pt modelId="{07637733-7A11-4BDE-A6F0-D7065089CA7F}" type="parTrans" cxnId="{4406BD49-77B2-4551-8E31-517DBA49C4CE}">
      <dgm:prSet/>
      <dgm:spPr/>
      <dgm:t>
        <a:bodyPr/>
        <a:lstStyle/>
        <a:p>
          <a:endParaRPr lang="en-US"/>
        </a:p>
      </dgm:t>
    </dgm:pt>
    <dgm:pt modelId="{E4624F36-160C-4D5E-9007-4471F8D5D502}" type="sibTrans" cxnId="{4406BD49-77B2-4551-8E31-517DBA49C4CE}">
      <dgm:prSet/>
      <dgm:spPr/>
      <dgm:t>
        <a:bodyPr/>
        <a:lstStyle/>
        <a:p>
          <a:endParaRPr lang="en-US"/>
        </a:p>
      </dgm:t>
    </dgm:pt>
    <dgm:pt modelId="{DEC0AFD0-E0C3-4E9C-A7D2-6AA03C6B609E}">
      <dgm:prSet/>
      <dgm:spPr/>
      <dgm:t>
        <a:bodyPr/>
        <a:lstStyle/>
        <a:p>
          <a:pPr>
            <a:lnSpc>
              <a:spcPct val="100000"/>
            </a:lnSpc>
            <a:defRPr cap="all"/>
          </a:pPr>
          <a:r>
            <a:rPr lang="en-US" dirty="0"/>
            <a:t>EDUCATION</a:t>
          </a:r>
        </a:p>
      </dgm:t>
    </dgm:pt>
    <dgm:pt modelId="{968B39AB-3E56-48A0-ACCA-145DD51DD8E6}" type="parTrans" cxnId="{440F0599-AFC1-438E-98D5-6D5BBF232D92}">
      <dgm:prSet/>
      <dgm:spPr/>
      <dgm:t>
        <a:bodyPr/>
        <a:lstStyle/>
        <a:p>
          <a:endParaRPr lang="en-US"/>
        </a:p>
      </dgm:t>
    </dgm:pt>
    <dgm:pt modelId="{4B3F8691-09FA-4DD6-9A6C-D429441D99F1}" type="sibTrans" cxnId="{440F0599-AFC1-438E-98D5-6D5BBF232D92}">
      <dgm:prSet/>
      <dgm:spPr/>
      <dgm:t>
        <a:bodyPr/>
        <a:lstStyle/>
        <a:p>
          <a:endParaRPr lang="en-US"/>
        </a:p>
      </dgm:t>
    </dgm:pt>
    <dgm:pt modelId="{48F3ED62-7F6F-4184-8DB0-541494C834A1}">
      <dgm:prSet/>
      <dgm:spPr/>
      <dgm:t>
        <a:bodyPr/>
        <a:lstStyle/>
        <a:p>
          <a:pPr>
            <a:lnSpc>
              <a:spcPct val="100000"/>
            </a:lnSpc>
            <a:defRPr cap="all"/>
          </a:pPr>
          <a:r>
            <a:rPr lang="en-US" dirty="0"/>
            <a:t>health</a:t>
          </a:r>
        </a:p>
      </dgm:t>
    </dgm:pt>
    <dgm:pt modelId="{3AEF99B5-8C73-4F71-81EC-9C0940DF829D}" type="parTrans" cxnId="{7F32DD6B-519B-4147-8290-B6F29AC5F8DC}">
      <dgm:prSet/>
      <dgm:spPr/>
      <dgm:t>
        <a:bodyPr/>
        <a:lstStyle/>
        <a:p>
          <a:endParaRPr lang="en-US"/>
        </a:p>
      </dgm:t>
    </dgm:pt>
    <dgm:pt modelId="{88E69033-296F-4134-B62B-95FAF1E24A6D}" type="sibTrans" cxnId="{7F32DD6B-519B-4147-8290-B6F29AC5F8DC}">
      <dgm:prSet/>
      <dgm:spPr/>
      <dgm:t>
        <a:bodyPr/>
        <a:lstStyle/>
        <a:p>
          <a:endParaRPr lang="en-US"/>
        </a:p>
      </dgm:t>
    </dgm:pt>
    <dgm:pt modelId="{F37CA7E9-5D60-4887-B85F-C947DF54BD6F}">
      <dgm:prSet/>
      <dgm:spPr/>
      <dgm:t>
        <a:bodyPr/>
        <a:lstStyle/>
        <a:p>
          <a:pPr>
            <a:lnSpc>
              <a:spcPct val="100000"/>
            </a:lnSpc>
            <a:defRPr cap="all"/>
          </a:pPr>
          <a:r>
            <a:rPr lang="en-US" dirty="0"/>
            <a:t>Disaster Relief</a:t>
          </a:r>
        </a:p>
      </dgm:t>
    </dgm:pt>
    <dgm:pt modelId="{36CC30F5-177F-4D79-972A-202C0487BA1B}" type="parTrans" cxnId="{B3F98B8B-B1E7-4689-819C-2360FBCDC87E}">
      <dgm:prSet/>
      <dgm:spPr/>
      <dgm:t>
        <a:bodyPr/>
        <a:lstStyle/>
        <a:p>
          <a:endParaRPr lang="en-US"/>
        </a:p>
      </dgm:t>
    </dgm:pt>
    <dgm:pt modelId="{E8D6E3FE-8510-410B-832F-2A9E23228A7A}" type="sibTrans" cxnId="{B3F98B8B-B1E7-4689-819C-2360FBCDC87E}">
      <dgm:prSet/>
      <dgm:spPr/>
      <dgm:t>
        <a:bodyPr/>
        <a:lstStyle/>
        <a:p>
          <a:endParaRPr lang="en-US"/>
        </a:p>
      </dgm:t>
    </dgm:pt>
    <dgm:pt modelId="{14350BCF-69D0-CC47-8F6F-E43DF8AB9E65}">
      <dgm:prSet/>
      <dgm:spPr/>
      <dgm:t>
        <a:bodyPr/>
        <a:lstStyle/>
        <a:p>
          <a:pPr>
            <a:defRPr cap="all"/>
          </a:pPr>
          <a:r>
            <a:rPr lang="en-US" dirty="0"/>
            <a:t>Innovation</a:t>
          </a:r>
        </a:p>
      </dgm:t>
    </dgm:pt>
    <dgm:pt modelId="{02CA314B-5348-E14E-95AD-AAE0910433EC}" type="parTrans" cxnId="{816CDCC6-6EC8-4C4E-9036-B4C6DE4B600C}">
      <dgm:prSet/>
      <dgm:spPr/>
      <dgm:t>
        <a:bodyPr/>
        <a:lstStyle/>
        <a:p>
          <a:endParaRPr lang="en-US"/>
        </a:p>
      </dgm:t>
    </dgm:pt>
    <dgm:pt modelId="{0F8040AF-FEA3-F044-8832-3E809865B010}" type="sibTrans" cxnId="{816CDCC6-6EC8-4C4E-9036-B4C6DE4B600C}">
      <dgm:prSet/>
      <dgm:spPr/>
      <dgm:t>
        <a:bodyPr/>
        <a:lstStyle/>
        <a:p>
          <a:endParaRPr lang="en-US"/>
        </a:p>
      </dgm:t>
    </dgm:pt>
    <dgm:pt modelId="{0CA6FFAB-BF04-4501-8255-7D729F5BB065}" type="pres">
      <dgm:prSet presAssocID="{0B8BFEAB-D90F-4895-83C0-8000182CFC60}" presName="root" presStyleCnt="0">
        <dgm:presLayoutVars>
          <dgm:dir/>
          <dgm:resizeHandles val="exact"/>
        </dgm:presLayoutVars>
      </dgm:prSet>
      <dgm:spPr/>
    </dgm:pt>
    <dgm:pt modelId="{A9B72F8E-2460-4935-861E-965983905084}" type="pres">
      <dgm:prSet presAssocID="{B729AADB-00CC-4ED8-8377-D707EC0C5777}" presName="compNode" presStyleCnt="0"/>
      <dgm:spPr/>
    </dgm:pt>
    <dgm:pt modelId="{6C18F7A5-C8EB-49F8-B178-39A1EFB1808A}" type="pres">
      <dgm:prSet presAssocID="{B729AADB-00CC-4ED8-8377-D707EC0C5777}" presName="iconBgRect" presStyleLbl="bgShp" presStyleIdx="0" presStyleCnt="5"/>
      <dgm:spPr/>
    </dgm:pt>
    <dgm:pt modelId="{C8357BD6-F818-4C12-A7FE-518D9C9C68AE}" type="pres">
      <dgm:prSet presAssocID="{B729AADB-00CC-4ED8-8377-D707EC0C5777}" presName="iconRect" presStyleLbl="node1" presStyleIdx="0" presStyleCnt="5"/>
      <dgm:spPr>
        <a:blipFill rotWithShape="1">
          <a:blip xmlns:r="http://schemas.openxmlformats.org/officeDocument/2006/relationships" r:embed="rId1"/>
          <a:stretch>
            <a:fillRect/>
          </a:stretch>
        </a:blipFill>
        <a:ln>
          <a:noFill/>
        </a:ln>
      </dgm:spPr>
      <dgm:extLst>
        <a:ext uri="{E40237B7-FDA0-4F09-8148-C483321AD2D9}">
          <dgm14:cNvPr xmlns:dgm14="http://schemas.microsoft.com/office/drawing/2010/diagram" id="0" name="" descr="Checkmark"/>
        </a:ext>
      </dgm:extLst>
    </dgm:pt>
    <dgm:pt modelId="{E100BB61-DA55-4F6A-9AE0-B17B070FDB39}" type="pres">
      <dgm:prSet presAssocID="{B729AADB-00CC-4ED8-8377-D707EC0C5777}" presName="spaceRect" presStyleCnt="0"/>
      <dgm:spPr/>
    </dgm:pt>
    <dgm:pt modelId="{C05D03CD-EFE7-4664-9967-D70A72AE5CB4}" type="pres">
      <dgm:prSet presAssocID="{B729AADB-00CC-4ED8-8377-D707EC0C5777}" presName="textRect" presStyleLbl="revTx" presStyleIdx="0" presStyleCnt="5">
        <dgm:presLayoutVars>
          <dgm:chMax val="1"/>
          <dgm:chPref val="1"/>
        </dgm:presLayoutVars>
      </dgm:prSet>
      <dgm:spPr/>
    </dgm:pt>
    <dgm:pt modelId="{803459D4-622E-4C03-8394-3D288EE4D283}" type="pres">
      <dgm:prSet presAssocID="{E4624F36-160C-4D5E-9007-4471F8D5D502}" presName="sibTrans" presStyleCnt="0"/>
      <dgm:spPr/>
    </dgm:pt>
    <dgm:pt modelId="{447049FD-DFF7-4FC8-8CF3-6E31DAD867F0}" type="pres">
      <dgm:prSet presAssocID="{DEC0AFD0-E0C3-4E9C-A7D2-6AA03C6B609E}" presName="compNode" presStyleCnt="0"/>
      <dgm:spPr/>
    </dgm:pt>
    <dgm:pt modelId="{0A0DB4AA-84C1-472D-A357-202787D832FE}" type="pres">
      <dgm:prSet presAssocID="{DEC0AFD0-E0C3-4E9C-A7D2-6AA03C6B609E}" presName="iconBgRect" presStyleLbl="bgShp" presStyleIdx="1" presStyleCnt="5"/>
      <dgm:spPr/>
    </dgm:pt>
    <dgm:pt modelId="{2AA27A57-73DC-4EEC-BCDD-2CCED2FB3100}" type="pres">
      <dgm:prSet presAssocID="{DEC0AFD0-E0C3-4E9C-A7D2-6AA03C6B609E}" presName="iconRect" presStyleLbl="node1" presStyleIdx="1" presStyleCnt="5"/>
      <dgm:spPr>
        <a:blipFill rotWithShape="1">
          <a:blip xmlns:r="http://schemas.openxmlformats.org/officeDocument/2006/relationships" r:embed="rId2"/>
          <a:stretch>
            <a:fillRect/>
          </a:stretch>
        </a:blipFill>
        <a:ln>
          <a:noFill/>
        </a:ln>
      </dgm:spPr>
      <dgm:extLst>
        <a:ext uri="{E40237B7-FDA0-4F09-8148-C483321AD2D9}">
          <dgm14:cNvPr xmlns:dgm14="http://schemas.microsoft.com/office/drawing/2010/diagram" id="0" name="" descr="Books"/>
        </a:ext>
      </dgm:extLst>
    </dgm:pt>
    <dgm:pt modelId="{80EB4388-A61A-4A07-BB8C-9BED68426607}" type="pres">
      <dgm:prSet presAssocID="{DEC0AFD0-E0C3-4E9C-A7D2-6AA03C6B609E}" presName="spaceRect" presStyleCnt="0"/>
      <dgm:spPr/>
    </dgm:pt>
    <dgm:pt modelId="{0F7B082E-4FE9-4917-B329-641247BB1A4C}" type="pres">
      <dgm:prSet presAssocID="{DEC0AFD0-E0C3-4E9C-A7D2-6AA03C6B609E}" presName="textRect" presStyleLbl="revTx" presStyleIdx="1" presStyleCnt="5">
        <dgm:presLayoutVars>
          <dgm:chMax val="1"/>
          <dgm:chPref val="1"/>
        </dgm:presLayoutVars>
      </dgm:prSet>
      <dgm:spPr/>
    </dgm:pt>
    <dgm:pt modelId="{0E7F49AB-D84D-49E8-88D3-3AD98196D8D0}" type="pres">
      <dgm:prSet presAssocID="{4B3F8691-09FA-4DD6-9A6C-D429441D99F1}" presName="sibTrans" presStyleCnt="0"/>
      <dgm:spPr/>
    </dgm:pt>
    <dgm:pt modelId="{F980D427-89C8-4DBA-B809-555BAC7478D4}" type="pres">
      <dgm:prSet presAssocID="{48F3ED62-7F6F-4184-8DB0-541494C834A1}" presName="compNode" presStyleCnt="0"/>
      <dgm:spPr/>
    </dgm:pt>
    <dgm:pt modelId="{4DDB662E-9C5A-443E-85EB-38C79425561F}" type="pres">
      <dgm:prSet presAssocID="{48F3ED62-7F6F-4184-8DB0-541494C834A1}" presName="iconBgRect" presStyleLbl="bgShp" presStyleIdx="2" presStyleCnt="5"/>
      <dgm:spPr/>
    </dgm:pt>
    <dgm:pt modelId="{C5FF1364-4234-4973-B929-0939DC8B1E0A}" type="pres">
      <dgm:prSet presAssocID="{48F3ED62-7F6F-4184-8DB0-541494C834A1}" presName="iconRect" presStyleLbl="node1" presStyleIdx="2" presStyleCnt="5"/>
      <dgm:spPr>
        <a:blipFill rotWithShape="1">
          <a:blip xmlns:r="http://schemas.openxmlformats.org/officeDocument/2006/relationships" r:embed="rId3"/>
          <a:stretch>
            <a:fillRect/>
          </a:stretch>
        </a:blipFill>
        <a:ln>
          <a:noFill/>
        </a:ln>
      </dgm:spPr>
    </dgm:pt>
    <dgm:pt modelId="{F4BB99D6-8DD3-49AD-A835-20526F79F8FA}" type="pres">
      <dgm:prSet presAssocID="{48F3ED62-7F6F-4184-8DB0-541494C834A1}" presName="spaceRect" presStyleCnt="0"/>
      <dgm:spPr/>
    </dgm:pt>
    <dgm:pt modelId="{24F2ACF0-E2C4-4561-8807-4027546F77C0}" type="pres">
      <dgm:prSet presAssocID="{48F3ED62-7F6F-4184-8DB0-541494C834A1}" presName="textRect" presStyleLbl="revTx" presStyleIdx="2" presStyleCnt="5">
        <dgm:presLayoutVars>
          <dgm:chMax val="1"/>
          <dgm:chPref val="1"/>
        </dgm:presLayoutVars>
      </dgm:prSet>
      <dgm:spPr/>
    </dgm:pt>
    <dgm:pt modelId="{665FF9BE-2D5D-4BB9-A012-283CE83F018F}" type="pres">
      <dgm:prSet presAssocID="{88E69033-296F-4134-B62B-95FAF1E24A6D}" presName="sibTrans" presStyleCnt="0"/>
      <dgm:spPr/>
    </dgm:pt>
    <dgm:pt modelId="{3B5C2048-837C-4333-A8FC-78146367939A}" type="pres">
      <dgm:prSet presAssocID="{F37CA7E9-5D60-4887-B85F-C947DF54BD6F}" presName="compNode" presStyleCnt="0"/>
      <dgm:spPr/>
    </dgm:pt>
    <dgm:pt modelId="{BC570467-27CD-4FBB-9FB0-BED5FF34AD69}" type="pres">
      <dgm:prSet presAssocID="{F37CA7E9-5D60-4887-B85F-C947DF54BD6F}" presName="iconBgRect" presStyleLbl="bgShp" presStyleIdx="3" presStyleCnt="5">
        <dgm:style>
          <a:lnRef idx="0">
            <a:schemeClr val="accent1"/>
          </a:lnRef>
          <a:fillRef idx="3">
            <a:schemeClr val="accent1"/>
          </a:fillRef>
          <a:effectRef idx="3">
            <a:schemeClr val="accent1"/>
          </a:effectRef>
          <a:fontRef idx="minor">
            <a:schemeClr val="lt1"/>
          </a:fontRef>
        </dgm:style>
      </dgm:prSet>
      <dgm:spPr/>
    </dgm:pt>
    <dgm:pt modelId="{FEE21511-25ED-4548-860A-A4D6B7FEE006}" type="pres">
      <dgm:prSet presAssocID="{F37CA7E9-5D60-4887-B85F-C947DF54BD6F}" presName="iconRect" presStyleLbl="node1" presStyleIdx="3" presStyleCnt="5"/>
      <dgm:spPr>
        <a:blipFill rotWithShape="1">
          <a:blip xmlns:r="http://schemas.openxmlformats.org/officeDocument/2006/relationships" r:embed="rId4"/>
          <a:stretch>
            <a:fillRect/>
          </a:stretch>
        </a:blipFill>
        <a:ln>
          <a:noFill/>
        </a:ln>
      </dgm:spPr>
    </dgm:pt>
    <dgm:pt modelId="{EFF2ABAE-AC99-4268-BEF0-4013CB400356}" type="pres">
      <dgm:prSet presAssocID="{F37CA7E9-5D60-4887-B85F-C947DF54BD6F}" presName="spaceRect" presStyleCnt="0"/>
      <dgm:spPr/>
    </dgm:pt>
    <dgm:pt modelId="{72D9B868-BFBE-4871-9AB2-277C67000354}" type="pres">
      <dgm:prSet presAssocID="{F37CA7E9-5D60-4887-B85F-C947DF54BD6F}" presName="textRect" presStyleLbl="revTx" presStyleIdx="3" presStyleCnt="5">
        <dgm:presLayoutVars>
          <dgm:chMax val="1"/>
          <dgm:chPref val="1"/>
        </dgm:presLayoutVars>
      </dgm:prSet>
      <dgm:spPr/>
    </dgm:pt>
    <dgm:pt modelId="{1D5F372D-D1D7-B147-A3A5-288665DF5135}" type="pres">
      <dgm:prSet presAssocID="{E8D6E3FE-8510-410B-832F-2A9E23228A7A}" presName="sibTrans" presStyleCnt="0"/>
      <dgm:spPr/>
    </dgm:pt>
    <dgm:pt modelId="{8F3B022A-3325-614C-A0A1-B9A49C1B0F90}" type="pres">
      <dgm:prSet presAssocID="{14350BCF-69D0-CC47-8F6F-E43DF8AB9E65}" presName="compNode" presStyleCnt="0"/>
      <dgm:spPr/>
    </dgm:pt>
    <dgm:pt modelId="{4D02DBBE-B8AE-3743-9D94-CAB662E3FF54}" type="pres">
      <dgm:prSet presAssocID="{14350BCF-69D0-CC47-8F6F-E43DF8AB9E65}" presName="iconBgRect" presStyleLbl="bgShp" presStyleIdx="4" presStyleCnt="5"/>
      <dgm:spPr/>
    </dgm:pt>
    <dgm:pt modelId="{08A36BD7-557A-D442-8874-D06950E41123}" type="pres">
      <dgm:prSet presAssocID="{14350BCF-69D0-CC47-8F6F-E43DF8AB9E65}" presName="iconRect" presStyleLbl="node1" presStyleIdx="4" presStyleCnt="5"/>
      <dgm:spPr>
        <a:blipFill rotWithShape="1">
          <a:blip xmlns:r="http://schemas.openxmlformats.org/officeDocument/2006/relationships" r:embed="rId5"/>
          <a:stretch>
            <a:fillRect/>
          </a:stretch>
        </a:blipFill>
      </dgm:spPr>
    </dgm:pt>
    <dgm:pt modelId="{1D185FAC-6CDA-D64A-AB9D-F661E235E7BF}" type="pres">
      <dgm:prSet presAssocID="{14350BCF-69D0-CC47-8F6F-E43DF8AB9E65}" presName="spaceRect" presStyleCnt="0"/>
      <dgm:spPr/>
    </dgm:pt>
    <dgm:pt modelId="{E5A79E55-8FC3-8C4A-92A0-2B33B964789A}" type="pres">
      <dgm:prSet presAssocID="{14350BCF-69D0-CC47-8F6F-E43DF8AB9E65}" presName="textRect" presStyleLbl="revTx" presStyleIdx="4" presStyleCnt="5">
        <dgm:presLayoutVars>
          <dgm:chMax val="1"/>
          <dgm:chPref val="1"/>
        </dgm:presLayoutVars>
      </dgm:prSet>
      <dgm:spPr/>
    </dgm:pt>
  </dgm:ptLst>
  <dgm:cxnLst>
    <dgm:cxn modelId="{4406BD49-77B2-4551-8E31-517DBA49C4CE}" srcId="{0B8BFEAB-D90F-4895-83C0-8000182CFC60}" destId="{B729AADB-00CC-4ED8-8377-D707EC0C5777}" srcOrd="0" destOrd="0" parTransId="{07637733-7A11-4BDE-A6F0-D7065089CA7F}" sibTransId="{E4624F36-160C-4D5E-9007-4471F8D5D502}"/>
    <dgm:cxn modelId="{64D34D6B-E1AB-6E48-A96B-77D888B06934}" type="presOf" srcId="{F37CA7E9-5D60-4887-B85F-C947DF54BD6F}" destId="{72D9B868-BFBE-4871-9AB2-277C67000354}" srcOrd="0" destOrd="0" presId="urn:microsoft.com/office/officeart/2018/5/layout/IconCircleLabelList"/>
    <dgm:cxn modelId="{7F32DD6B-519B-4147-8290-B6F29AC5F8DC}" srcId="{0B8BFEAB-D90F-4895-83C0-8000182CFC60}" destId="{48F3ED62-7F6F-4184-8DB0-541494C834A1}" srcOrd="2" destOrd="0" parTransId="{3AEF99B5-8C73-4F71-81EC-9C0940DF829D}" sibTransId="{88E69033-296F-4134-B62B-95FAF1E24A6D}"/>
    <dgm:cxn modelId="{D7F0F56D-6AD8-6144-BD3E-B3F62F01336D}" type="presOf" srcId="{14350BCF-69D0-CC47-8F6F-E43DF8AB9E65}" destId="{E5A79E55-8FC3-8C4A-92A0-2B33B964789A}" srcOrd="0" destOrd="0" presId="urn:microsoft.com/office/officeart/2018/5/layout/IconCircleLabelList"/>
    <dgm:cxn modelId="{FC9E488A-42A3-2B4B-80E4-615C6C871BB2}" type="presOf" srcId="{0B8BFEAB-D90F-4895-83C0-8000182CFC60}" destId="{0CA6FFAB-BF04-4501-8255-7D729F5BB065}" srcOrd="0" destOrd="0" presId="urn:microsoft.com/office/officeart/2018/5/layout/IconCircleLabelList"/>
    <dgm:cxn modelId="{B3F98B8B-B1E7-4689-819C-2360FBCDC87E}" srcId="{0B8BFEAB-D90F-4895-83C0-8000182CFC60}" destId="{F37CA7E9-5D60-4887-B85F-C947DF54BD6F}" srcOrd="3" destOrd="0" parTransId="{36CC30F5-177F-4D79-972A-202C0487BA1B}" sibTransId="{E8D6E3FE-8510-410B-832F-2A9E23228A7A}"/>
    <dgm:cxn modelId="{440F0599-AFC1-438E-98D5-6D5BBF232D92}" srcId="{0B8BFEAB-D90F-4895-83C0-8000182CFC60}" destId="{DEC0AFD0-E0C3-4E9C-A7D2-6AA03C6B609E}" srcOrd="1" destOrd="0" parTransId="{968B39AB-3E56-48A0-ACCA-145DD51DD8E6}" sibTransId="{4B3F8691-09FA-4DD6-9A6C-D429441D99F1}"/>
    <dgm:cxn modelId="{775EE09D-D4E4-EA4C-BE85-52273835FBB3}" type="presOf" srcId="{B729AADB-00CC-4ED8-8377-D707EC0C5777}" destId="{C05D03CD-EFE7-4664-9967-D70A72AE5CB4}" srcOrd="0" destOrd="0" presId="urn:microsoft.com/office/officeart/2018/5/layout/IconCircleLabelList"/>
    <dgm:cxn modelId="{26459DA3-F736-294F-A765-B9440F6167D9}" type="presOf" srcId="{48F3ED62-7F6F-4184-8DB0-541494C834A1}" destId="{24F2ACF0-E2C4-4561-8807-4027546F77C0}" srcOrd="0" destOrd="0" presId="urn:microsoft.com/office/officeart/2018/5/layout/IconCircleLabelList"/>
    <dgm:cxn modelId="{816CDCC6-6EC8-4C4E-9036-B4C6DE4B600C}" srcId="{0B8BFEAB-D90F-4895-83C0-8000182CFC60}" destId="{14350BCF-69D0-CC47-8F6F-E43DF8AB9E65}" srcOrd="4" destOrd="0" parTransId="{02CA314B-5348-E14E-95AD-AAE0910433EC}" sibTransId="{0F8040AF-FEA3-F044-8832-3E809865B010}"/>
    <dgm:cxn modelId="{EDF14DE6-F5A5-5C4B-A71E-5134CD955A50}" type="presOf" srcId="{DEC0AFD0-E0C3-4E9C-A7D2-6AA03C6B609E}" destId="{0F7B082E-4FE9-4917-B329-641247BB1A4C}" srcOrd="0" destOrd="0" presId="urn:microsoft.com/office/officeart/2018/5/layout/IconCircleLabelList"/>
    <dgm:cxn modelId="{981D22BA-9DE6-194B-89EF-74A4877636D9}" type="presParOf" srcId="{0CA6FFAB-BF04-4501-8255-7D729F5BB065}" destId="{A9B72F8E-2460-4935-861E-965983905084}" srcOrd="0" destOrd="0" presId="urn:microsoft.com/office/officeart/2018/5/layout/IconCircleLabelList"/>
    <dgm:cxn modelId="{3F8ABFE0-0F3E-1847-B5F5-2A08ED4BD66F}" type="presParOf" srcId="{A9B72F8E-2460-4935-861E-965983905084}" destId="{6C18F7A5-C8EB-49F8-B178-39A1EFB1808A}" srcOrd="0" destOrd="0" presId="urn:microsoft.com/office/officeart/2018/5/layout/IconCircleLabelList"/>
    <dgm:cxn modelId="{368D9571-8046-3740-AA24-D8AA8C376CCA}" type="presParOf" srcId="{A9B72F8E-2460-4935-861E-965983905084}" destId="{C8357BD6-F818-4C12-A7FE-518D9C9C68AE}" srcOrd="1" destOrd="0" presId="urn:microsoft.com/office/officeart/2018/5/layout/IconCircleLabelList"/>
    <dgm:cxn modelId="{A37EC034-AF84-094E-A1C4-13B812ACA771}" type="presParOf" srcId="{A9B72F8E-2460-4935-861E-965983905084}" destId="{E100BB61-DA55-4F6A-9AE0-B17B070FDB39}" srcOrd="2" destOrd="0" presId="urn:microsoft.com/office/officeart/2018/5/layout/IconCircleLabelList"/>
    <dgm:cxn modelId="{665E27CF-1D95-4E48-A27D-396FB0A2617B}" type="presParOf" srcId="{A9B72F8E-2460-4935-861E-965983905084}" destId="{C05D03CD-EFE7-4664-9967-D70A72AE5CB4}" srcOrd="3" destOrd="0" presId="urn:microsoft.com/office/officeart/2018/5/layout/IconCircleLabelList"/>
    <dgm:cxn modelId="{E362D92B-92F8-8E41-9AE9-A9DA9B6D8F80}" type="presParOf" srcId="{0CA6FFAB-BF04-4501-8255-7D729F5BB065}" destId="{803459D4-622E-4C03-8394-3D288EE4D283}" srcOrd="1" destOrd="0" presId="urn:microsoft.com/office/officeart/2018/5/layout/IconCircleLabelList"/>
    <dgm:cxn modelId="{991453DE-673F-A144-AFA2-90B28892C33E}" type="presParOf" srcId="{0CA6FFAB-BF04-4501-8255-7D729F5BB065}" destId="{447049FD-DFF7-4FC8-8CF3-6E31DAD867F0}" srcOrd="2" destOrd="0" presId="urn:microsoft.com/office/officeart/2018/5/layout/IconCircleLabelList"/>
    <dgm:cxn modelId="{7868307C-C303-1641-BBFD-6198CE8883BE}" type="presParOf" srcId="{447049FD-DFF7-4FC8-8CF3-6E31DAD867F0}" destId="{0A0DB4AA-84C1-472D-A357-202787D832FE}" srcOrd="0" destOrd="0" presId="urn:microsoft.com/office/officeart/2018/5/layout/IconCircleLabelList"/>
    <dgm:cxn modelId="{29932F14-D8AD-1847-9CDC-EBBFE327C16D}" type="presParOf" srcId="{447049FD-DFF7-4FC8-8CF3-6E31DAD867F0}" destId="{2AA27A57-73DC-4EEC-BCDD-2CCED2FB3100}" srcOrd="1" destOrd="0" presId="urn:microsoft.com/office/officeart/2018/5/layout/IconCircleLabelList"/>
    <dgm:cxn modelId="{4903E39F-8CF9-5544-A4EE-3F3F45AE2F4D}" type="presParOf" srcId="{447049FD-DFF7-4FC8-8CF3-6E31DAD867F0}" destId="{80EB4388-A61A-4A07-BB8C-9BED68426607}" srcOrd="2" destOrd="0" presId="urn:microsoft.com/office/officeart/2018/5/layout/IconCircleLabelList"/>
    <dgm:cxn modelId="{72BBA637-C019-AE4B-82AA-F9CB2CA1D60F}" type="presParOf" srcId="{447049FD-DFF7-4FC8-8CF3-6E31DAD867F0}" destId="{0F7B082E-4FE9-4917-B329-641247BB1A4C}" srcOrd="3" destOrd="0" presId="urn:microsoft.com/office/officeart/2018/5/layout/IconCircleLabelList"/>
    <dgm:cxn modelId="{E8179CA2-9A45-B94D-A01B-70889EC2DFF8}" type="presParOf" srcId="{0CA6FFAB-BF04-4501-8255-7D729F5BB065}" destId="{0E7F49AB-D84D-49E8-88D3-3AD98196D8D0}" srcOrd="3" destOrd="0" presId="urn:microsoft.com/office/officeart/2018/5/layout/IconCircleLabelList"/>
    <dgm:cxn modelId="{96E6A2D1-9624-F549-8C54-EC20A6F8EC6F}" type="presParOf" srcId="{0CA6FFAB-BF04-4501-8255-7D729F5BB065}" destId="{F980D427-89C8-4DBA-B809-555BAC7478D4}" srcOrd="4" destOrd="0" presId="urn:microsoft.com/office/officeart/2018/5/layout/IconCircleLabelList"/>
    <dgm:cxn modelId="{6A456440-69A1-5F41-9B1E-36A134C70EB5}" type="presParOf" srcId="{F980D427-89C8-4DBA-B809-555BAC7478D4}" destId="{4DDB662E-9C5A-443E-85EB-38C79425561F}" srcOrd="0" destOrd="0" presId="urn:microsoft.com/office/officeart/2018/5/layout/IconCircleLabelList"/>
    <dgm:cxn modelId="{52B70419-2BB8-5747-B7B0-846EEDA31E23}" type="presParOf" srcId="{F980D427-89C8-4DBA-B809-555BAC7478D4}" destId="{C5FF1364-4234-4973-B929-0939DC8B1E0A}" srcOrd="1" destOrd="0" presId="urn:microsoft.com/office/officeart/2018/5/layout/IconCircleLabelList"/>
    <dgm:cxn modelId="{768C6806-2A39-C84A-91F7-B84A803030D3}" type="presParOf" srcId="{F980D427-89C8-4DBA-B809-555BAC7478D4}" destId="{F4BB99D6-8DD3-49AD-A835-20526F79F8FA}" srcOrd="2" destOrd="0" presId="urn:microsoft.com/office/officeart/2018/5/layout/IconCircleLabelList"/>
    <dgm:cxn modelId="{D5D8B29E-22A0-334E-801E-D2AA8BD6E131}" type="presParOf" srcId="{F980D427-89C8-4DBA-B809-555BAC7478D4}" destId="{24F2ACF0-E2C4-4561-8807-4027546F77C0}" srcOrd="3" destOrd="0" presId="urn:microsoft.com/office/officeart/2018/5/layout/IconCircleLabelList"/>
    <dgm:cxn modelId="{1A0DDC9C-281F-C74A-953C-E430C414CB77}" type="presParOf" srcId="{0CA6FFAB-BF04-4501-8255-7D729F5BB065}" destId="{665FF9BE-2D5D-4BB9-A012-283CE83F018F}" srcOrd="5" destOrd="0" presId="urn:microsoft.com/office/officeart/2018/5/layout/IconCircleLabelList"/>
    <dgm:cxn modelId="{9CB5D447-9220-3244-AA45-91D1EA782A29}" type="presParOf" srcId="{0CA6FFAB-BF04-4501-8255-7D729F5BB065}" destId="{3B5C2048-837C-4333-A8FC-78146367939A}" srcOrd="6" destOrd="0" presId="urn:microsoft.com/office/officeart/2018/5/layout/IconCircleLabelList"/>
    <dgm:cxn modelId="{3929E3B6-BF9C-DE40-8818-3C4FFC3AAF01}" type="presParOf" srcId="{3B5C2048-837C-4333-A8FC-78146367939A}" destId="{BC570467-27CD-4FBB-9FB0-BED5FF34AD69}" srcOrd="0" destOrd="0" presId="urn:microsoft.com/office/officeart/2018/5/layout/IconCircleLabelList"/>
    <dgm:cxn modelId="{AF342C8A-1820-074F-AE60-941C04E537A4}" type="presParOf" srcId="{3B5C2048-837C-4333-A8FC-78146367939A}" destId="{FEE21511-25ED-4548-860A-A4D6B7FEE006}" srcOrd="1" destOrd="0" presId="urn:microsoft.com/office/officeart/2018/5/layout/IconCircleLabelList"/>
    <dgm:cxn modelId="{3351DAE8-EC98-1D4D-9CC0-F09740880626}" type="presParOf" srcId="{3B5C2048-837C-4333-A8FC-78146367939A}" destId="{EFF2ABAE-AC99-4268-BEF0-4013CB400356}" srcOrd="2" destOrd="0" presId="urn:microsoft.com/office/officeart/2018/5/layout/IconCircleLabelList"/>
    <dgm:cxn modelId="{99738910-3D70-A54A-891E-9EB7F2F78725}" type="presParOf" srcId="{3B5C2048-837C-4333-A8FC-78146367939A}" destId="{72D9B868-BFBE-4871-9AB2-277C67000354}" srcOrd="3" destOrd="0" presId="urn:microsoft.com/office/officeart/2018/5/layout/IconCircleLabelList"/>
    <dgm:cxn modelId="{6085C0D3-632C-1647-BBC8-5993633E28FA}" type="presParOf" srcId="{0CA6FFAB-BF04-4501-8255-7D729F5BB065}" destId="{1D5F372D-D1D7-B147-A3A5-288665DF5135}" srcOrd="7" destOrd="0" presId="urn:microsoft.com/office/officeart/2018/5/layout/IconCircleLabelList"/>
    <dgm:cxn modelId="{E1319073-2A1E-4249-8629-F7BB8BAC69DA}" type="presParOf" srcId="{0CA6FFAB-BF04-4501-8255-7D729F5BB065}" destId="{8F3B022A-3325-614C-A0A1-B9A49C1B0F90}" srcOrd="8" destOrd="0" presId="urn:microsoft.com/office/officeart/2018/5/layout/IconCircleLabelList"/>
    <dgm:cxn modelId="{0F0D278F-8141-6945-9234-AD4D95A103CD}" type="presParOf" srcId="{8F3B022A-3325-614C-A0A1-B9A49C1B0F90}" destId="{4D02DBBE-B8AE-3743-9D94-CAB662E3FF54}" srcOrd="0" destOrd="0" presId="urn:microsoft.com/office/officeart/2018/5/layout/IconCircleLabelList"/>
    <dgm:cxn modelId="{0044BACE-B156-0748-9C43-AA7FFDEE3B9B}" type="presParOf" srcId="{8F3B022A-3325-614C-A0A1-B9A49C1B0F90}" destId="{08A36BD7-557A-D442-8874-D06950E41123}" srcOrd="1" destOrd="0" presId="urn:microsoft.com/office/officeart/2018/5/layout/IconCircleLabelList"/>
    <dgm:cxn modelId="{73F68DE6-BF46-B24D-98B5-7E6D00B1B68C}" type="presParOf" srcId="{8F3B022A-3325-614C-A0A1-B9A49C1B0F90}" destId="{1D185FAC-6CDA-D64A-AB9D-F661E235E7BF}" srcOrd="2" destOrd="0" presId="urn:microsoft.com/office/officeart/2018/5/layout/IconCircleLabelList"/>
    <dgm:cxn modelId="{A4777B02-AAA2-DF43-96F4-A18C0128AEE8}" type="presParOf" srcId="{8F3B022A-3325-614C-A0A1-B9A49C1B0F90}" destId="{E5A79E55-8FC3-8C4A-92A0-2B33B964789A}"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FF166D9-0708-3544-9056-E1605D35E27D}" type="doc">
      <dgm:prSet loTypeId="urn:microsoft.com/office/officeart/2005/8/layout/chart3" loCatId="" qsTypeId="urn:microsoft.com/office/officeart/2005/8/quickstyle/simple4" qsCatId="simple" csTypeId="urn:microsoft.com/office/officeart/2005/8/colors/accent1_2" csCatId="accent1" phldr="1"/>
      <dgm:spPr/>
    </dgm:pt>
    <dgm:pt modelId="{78BA02A4-49FF-4749-92AE-5EBD4293565B}">
      <dgm:prSet phldrT="[Text]"/>
      <dgm:spPr/>
      <dgm:t>
        <a:bodyPr/>
        <a:lstStyle/>
        <a:p>
          <a:r>
            <a:rPr lang="en-US" dirty="0"/>
            <a:t>Private Sector, HNWi, Social Media &amp; PR</a:t>
          </a:r>
        </a:p>
      </dgm:t>
    </dgm:pt>
    <dgm:pt modelId="{FC9D53A9-93AA-9643-BAE4-580EB1C4F739}" type="parTrans" cxnId="{D3CFD5AD-8307-E546-A1C9-88E54CA0FB17}">
      <dgm:prSet/>
      <dgm:spPr/>
      <dgm:t>
        <a:bodyPr/>
        <a:lstStyle/>
        <a:p>
          <a:endParaRPr lang="en-US"/>
        </a:p>
      </dgm:t>
    </dgm:pt>
    <dgm:pt modelId="{BE0D33BB-4221-204A-90DD-F41237BAC6AE}" type="sibTrans" cxnId="{D3CFD5AD-8307-E546-A1C9-88E54CA0FB17}">
      <dgm:prSet/>
      <dgm:spPr/>
      <dgm:t>
        <a:bodyPr/>
        <a:lstStyle/>
        <a:p>
          <a:endParaRPr lang="en-US"/>
        </a:p>
      </dgm:t>
    </dgm:pt>
    <dgm:pt modelId="{98281AB6-01DF-AD49-A34A-DB155F355B68}">
      <dgm:prSet phldrT="[Text]"/>
      <dgm:spPr/>
      <dgm:t>
        <a:bodyPr/>
        <a:lstStyle/>
        <a:p>
          <a:r>
            <a:rPr lang="en-US" dirty="0"/>
            <a:t>Government NGOs &amp;</a:t>
          </a:r>
        </a:p>
        <a:p>
          <a:r>
            <a:rPr lang="en-US" dirty="0"/>
            <a:t>Foundations</a:t>
          </a:r>
        </a:p>
      </dgm:t>
    </dgm:pt>
    <dgm:pt modelId="{4527F823-BF2C-3C4C-90E7-DBA17A64EA31}" type="parTrans" cxnId="{D7AF8128-4D49-F240-B5A7-6A661484C383}">
      <dgm:prSet/>
      <dgm:spPr/>
      <dgm:t>
        <a:bodyPr/>
        <a:lstStyle/>
        <a:p>
          <a:endParaRPr lang="en-US"/>
        </a:p>
      </dgm:t>
    </dgm:pt>
    <dgm:pt modelId="{FDD0D26A-295D-9443-B65C-48E2D58535BB}" type="sibTrans" cxnId="{D7AF8128-4D49-F240-B5A7-6A661484C383}">
      <dgm:prSet/>
      <dgm:spPr/>
      <dgm:t>
        <a:bodyPr/>
        <a:lstStyle/>
        <a:p>
          <a:endParaRPr lang="en-US"/>
        </a:p>
      </dgm:t>
    </dgm:pt>
    <dgm:pt modelId="{3EB4A909-229B-3742-B99A-6C90C8ADD761}">
      <dgm:prSet phldrT="[Text]"/>
      <dgm:spPr/>
      <dgm:t>
        <a:bodyPr/>
        <a:lstStyle/>
        <a:p>
          <a:r>
            <a:rPr lang="en-US" dirty="0"/>
            <a:t>Donor Agencies</a:t>
          </a:r>
        </a:p>
      </dgm:t>
    </dgm:pt>
    <dgm:pt modelId="{7077D469-39D0-B645-9DD6-29F960640A82}" type="parTrans" cxnId="{ADA7545B-248A-3E41-B6B7-4110EF782185}">
      <dgm:prSet/>
      <dgm:spPr/>
      <dgm:t>
        <a:bodyPr/>
        <a:lstStyle/>
        <a:p>
          <a:endParaRPr lang="en-US"/>
        </a:p>
      </dgm:t>
    </dgm:pt>
    <dgm:pt modelId="{E7A1C51A-543A-6549-A006-D227E4DC38ED}" type="sibTrans" cxnId="{ADA7545B-248A-3E41-B6B7-4110EF782185}">
      <dgm:prSet/>
      <dgm:spPr/>
      <dgm:t>
        <a:bodyPr/>
        <a:lstStyle/>
        <a:p>
          <a:endParaRPr lang="en-US"/>
        </a:p>
      </dgm:t>
    </dgm:pt>
    <dgm:pt modelId="{14ED0B44-BC8D-ED46-A979-BCC2039E81E0}" type="pres">
      <dgm:prSet presAssocID="{3FF166D9-0708-3544-9056-E1605D35E27D}" presName="compositeShape" presStyleCnt="0">
        <dgm:presLayoutVars>
          <dgm:chMax val="7"/>
          <dgm:dir/>
          <dgm:resizeHandles val="exact"/>
        </dgm:presLayoutVars>
      </dgm:prSet>
      <dgm:spPr/>
    </dgm:pt>
    <dgm:pt modelId="{E277D35A-E4D0-0A4B-8EE2-793FDCBFEAA2}" type="pres">
      <dgm:prSet presAssocID="{3FF166D9-0708-3544-9056-E1605D35E27D}" presName="wedge1" presStyleLbl="node1" presStyleIdx="0" presStyleCnt="3"/>
      <dgm:spPr/>
    </dgm:pt>
    <dgm:pt modelId="{869B5998-8BE7-6148-A254-3098CC5F0AFB}" type="pres">
      <dgm:prSet presAssocID="{3FF166D9-0708-3544-9056-E1605D35E27D}" presName="wedge1Tx" presStyleLbl="node1" presStyleIdx="0" presStyleCnt="3">
        <dgm:presLayoutVars>
          <dgm:chMax val="0"/>
          <dgm:chPref val="0"/>
          <dgm:bulletEnabled val="1"/>
        </dgm:presLayoutVars>
      </dgm:prSet>
      <dgm:spPr/>
    </dgm:pt>
    <dgm:pt modelId="{1F114388-4E85-B546-BBAB-E69C94F88EB1}" type="pres">
      <dgm:prSet presAssocID="{3FF166D9-0708-3544-9056-E1605D35E27D}" presName="wedge2" presStyleLbl="node1" presStyleIdx="1" presStyleCnt="3"/>
      <dgm:spPr/>
    </dgm:pt>
    <dgm:pt modelId="{2E8EBADB-545C-FF49-A74A-0A28E59DD252}" type="pres">
      <dgm:prSet presAssocID="{3FF166D9-0708-3544-9056-E1605D35E27D}" presName="wedge2Tx" presStyleLbl="node1" presStyleIdx="1" presStyleCnt="3">
        <dgm:presLayoutVars>
          <dgm:chMax val="0"/>
          <dgm:chPref val="0"/>
          <dgm:bulletEnabled val="1"/>
        </dgm:presLayoutVars>
      </dgm:prSet>
      <dgm:spPr/>
    </dgm:pt>
    <dgm:pt modelId="{F71701AC-08FC-5345-92CA-01E3BBCD1D47}" type="pres">
      <dgm:prSet presAssocID="{3FF166D9-0708-3544-9056-E1605D35E27D}" presName="wedge3" presStyleLbl="node1" presStyleIdx="2" presStyleCnt="3"/>
      <dgm:spPr/>
    </dgm:pt>
    <dgm:pt modelId="{D6EC8448-AE1B-7545-A957-C2395D8DD9A6}" type="pres">
      <dgm:prSet presAssocID="{3FF166D9-0708-3544-9056-E1605D35E27D}" presName="wedge3Tx" presStyleLbl="node1" presStyleIdx="2" presStyleCnt="3">
        <dgm:presLayoutVars>
          <dgm:chMax val="0"/>
          <dgm:chPref val="0"/>
          <dgm:bulletEnabled val="1"/>
        </dgm:presLayoutVars>
      </dgm:prSet>
      <dgm:spPr/>
    </dgm:pt>
  </dgm:ptLst>
  <dgm:cxnLst>
    <dgm:cxn modelId="{D7AF8128-4D49-F240-B5A7-6A661484C383}" srcId="{3FF166D9-0708-3544-9056-E1605D35E27D}" destId="{98281AB6-01DF-AD49-A34A-DB155F355B68}" srcOrd="1" destOrd="0" parTransId="{4527F823-BF2C-3C4C-90E7-DBA17A64EA31}" sibTransId="{FDD0D26A-295D-9443-B65C-48E2D58535BB}"/>
    <dgm:cxn modelId="{60AB1038-6893-0843-BAB6-01715F21521B}" type="presOf" srcId="{3EB4A909-229B-3742-B99A-6C90C8ADD761}" destId="{F71701AC-08FC-5345-92CA-01E3BBCD1D47}" srcOrd="0" destOrd="0" presId="urn:microsoft.com/office/officeart/2005/8/layout/chart3"/>
    <dgm:cxn modelId="{ADA7545B-248A-3E41-B6B7-4110EF782185}" srcId="{3FF166D9-0708-3544-9056-E1605D35E27D}" destId="{3EB4A909-229B-3742-B99A-6C90C8ADD761}" srcOrd="2" destOrd="0" parTransId="{7077D469-39D0-B645-9DD6-29F960640A82}" sibTransId="{E7A1C51A-543A-6549-A006-D227E4DC38ED}"/>
    <dgm:cxn modelId="{79EE0962-A1BC-314F-A205-5EF41F9C48DB}" type="presOf" srcId="{98281AB6-01DF-AD49-A34A-DB155F355B68}" destId="{2E8EBADB-545C-FF49-A74A-0A28E59DD252}" srcOrd="1" destOrd="0" presId="urn:microsoft.com/office/officeart/2005/8/layout/chart3"/>
    <dgm:cxn modelId="{1B3BD56A-D8CC-6C46-A0A7-F03A0A90B459}" type="presOf" srcId="{78BA02A4-49FF-4749-92AE-5EBD4293565B}" destId="{E277D35A-E4D0-0A4B-8EE2-793FDCBFEAA2}" srcOrd="0" destOrd="0" presId="urn:microsoft.com/office/officeart/2005/8/layout/chart3"/>
    <dgm:cxn modelId="{F1E05C83-0129-7043-9351-464F566951E9}" type="presOf" srcId="{3FF166D9-0708-3544-9056-E1605D35E27D}" destId="{14ED0B44-BC8D-ED46-A979-BCC2039E81E0}" srcOrd="0" destOrd="0" presId="urn:microsoft.com/office/officeart/2005/8/layout/chart3"/>
    <dgm:cxn modelId="{4F8CA79C-ADDF-A148-AB99-8C0954FCACC3}" type="presOf" srcId="{98281AB6-01DF-AD49-A34A-DB155F355B68}" destId="{1F114388-4E85-B546-BBAB-E69C94F88EB1}" srcOrd="0" destOrd="0" presId="urn:microsoft.com/office/officeart/2005/8/layout/chart3"/>
    <dgm:cxn modelId="{D3CFD5AD-8307-E546-A1C9-88E54CA0FB17}" srcId="{3FF166D9-0708-3544-9056-E1605D35E27D}" destId="{78BA02A4-49FF-4749-92AE-5EBD4293565B}" srcOrd="0" destOrd="0" parTransId="{FC9D53A9-93AA-9643-BAE4-580EB1C4F739}" sibTransId="{BE0D33BB-4221-204A-90DD-F41237BAC6AE}"/>
    <dgm:cxn modelId="{CECD60D1-6592-6342-9BDB-3ACC770C2CD5}" type="presOf" srcId="{3EB4A909-229B-3742-B99A-6C90C8ADD761}" destId="{D6EC8448-AE1B-7545-A957-C2395D8DD9A6}" srcOrd="1" destOrd="0" presId="urn:microsoft.com/office/officeart/2005/8/layout/chart3"/>
    <dgm:cxn modelId="{3A5EE2D6-6698-4143-BD7B-FDDE7D8E5E4C}" type="presOf" srcId="{78BA02A4-49FF-4749-92AE-5EBD4293565B}" destId="{869B5998-8BE7-6148-A254-3098CC5F0AFB}" srcOrd="1" destOrd="0" presId="urn:microsoft.com/office/officeart/2005/8/layout/chart3"/>
    <dgm:cxn modelId="{8E391498-A408-A748-8A06-3EA48D7B5F41}" type="presParOf" srcId="{14ED0B44-BC8D-ED46-A979-BCC2039E81E0}" destId="{E277D35A-E4D0-0A4B-8EE2-793FDCBFEAA2}" srcOrd="0" destOrd="0" presId="urn:microsoft.com/office/officeart/2005/8/layout/chart3"/>
    <dgm:cxn modelId="{19A9EE4D-500F-E847-A5F6-0420FCBA303C}" type="presParOf" srcId="{14ED0B44-BC8D-ED46-A979-BCC2039E81E0}" destId="{869B5998-8BE7-6148-A254-3098CC5F0AFB}" srcOrd="1" destOrd="0" presId="urn:microsoft.com/office/officeart/2005/8/layout/chart3"/>
    <dgm:cxn modelId="{5EDB45A9-6AA0-A343-801B-7C94C927C30D}" type="presParOf" srcId="{14ED0B44-BC8D-ED46-A979-BCC2039E81E0}" destId="{1F114388-4E85-B546-BBAB-E69C94F88EB1}" srcOrd="2" destOrd="0" presId="urn:microsoft.com/office/officeart/2005/8/layout/chart3"/>
    <dgm:cxn modelId="{0B4A6DFA-057D-A947-9F59-D82F7E5ABE89}" type="presParOf" srcId="{14ED0B44-BC8D-ED46-A979-BCC2039E81E0}" destId="{2E8EBADB-545C-FF49-A74A-0A28E59DD252}" srcOrd="3" destOrd="0" presId="urn:microsoft.com/office/officeart/2005/8/layout/chart3"/>
    <dgm:cxn modelId="{0B0D3BC9-F78F-9B4A-BA05-32E55F1AD076}" type="presParOf" srcId="{14ED0B44-BC8D-ED46-A979-BCC2039E81E0}" destId="{F71701AC-08FC-5345-92CA-01E3BBCD1D47}" srcOrd="4" destOrd="0" presId="urn:microsoft.com/office/officeart/2005/8/layout/chart3"/>
    <dgm:cxn modelId="{EE6C9BAA-16F7-2E4E-9477-64708180BCC6}" type="presParOf" srcId="{14ED0B44-BC8D-ED46-A979-BCC2039E81E0}" destId="{D6EC8448-AE1B-7545-A957-C2395D8DD9A6}"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A767BB7-6790-2049-AE51-122354F6D111}" type="doc">
      <dgm:prSet loTypeId="urn:microsoft.com/office/officeart/2005/8/layout/hList7" loCatId="" qsTypeId="urn:microsoft.com/office/officeart/2005/8/quickstyle/simple3" qsCatId="simple" csTypeId="urn:microsoft.com/office/officeart/2005/8/colors/colorful1" csCatId="colorful" phldr="1"/>
      <dgm:spPr/>
    </dgm:pt>
    <dgm:pt modelId="{11A79157-DA38-FE4D-ACF2-DF91F2319B9A}">
      <dgm:prSet phldrT="[Text]"/>
      <dgm:spPr/>
      <dgm:t>
        <a:bodyPr/>
        <a:lstStyle/>
        <a:p>
          <a:r>
            <a:rPr lang="en-US" dirty="0"/>
            <a:t>Livelihoods</a:t>
          </a:r>
        </a:p>
      </dgm:t>
    </dgm:pt>
    <dgm:pt modelId="{AFDE00A1-E45D-6842-B9FD-90EE3FE161DB}" type="parTrans" cxnId="{0B895DC9-BE01-0441-BB50-DE45EC156982}">
      <dgm:prSet/>
      <dgm:spPr/>
      <dgm:t>
        <a:bodyPr/>
        <a:lstStyle/>
        <a:p>
          <a:endParaRPr lang="en-US"/>
        </a:p>
      </dgm:t>
    </dgm:pt>
    <dgm:pt modelId="{C8EC1CD5-881C-5841-9026-87F3A5034C39}" type="sibTrans" cxnId="{0B895DC9-BE01-0441-BB50-DE45EC156982}">
      <dgm:prSet/>
      <dgm:spPr/>
      <dgm:t>
        <a:bodyPr/>
        <a:lstStyle/>
        <a:p>
          <a:endParaRPr lang="en-US"/>
        </a:p>
      </dgm:t>
    </dgm:pt>
    <dgm:pt modelId="{5D1D1796-4A94-124C-8FD7-775614172C67}">
      <dgm:prSet phldrT="[Text]"/>
      <dgm:spPr/>
      <dgm:t>
        <a:bodyPr/>
        <a:lstStyle/>
        <a:p>
          <a:r>
            <a:rPr lang="en-US" dirty="0"/>
            <a:t>Education</a:t>
          </a:r>
        </a:p>
      </dgm:t>
    </dgm:pt>
    <dgm:pt modelId="{DC8E0B06-EF36-6C48-853E-FA37332471D8}" type="parTrans" cxnId="{C5BDB85A-F9B0-8F41-923D-1C4B431B0261}">
      <dgm:prSet/>
      <dgm:spPr/>
      <dgm:t>
        <a:bodyPr/>
        <a:lstStyle/>
        <a:p>
          <a:endParaRPr lang="en-US"/>
        </a:p>
      </dgm:t>
    </dgm:pt>
    <dgm:pt modelId="{31F2368F-E55E-6E42-833D-86911CE4B4D7}" type="sibTrans" cxnId="{C5BDB85A-F9B0-8F41-923D-1C4B431B0261}">
      <dgm:prSet/>
      <dgm:spPr/>
      <dgm:t>
        <a:bodyPr/>
        <a:lstStyle/>
        <a:p>
          <a:endParaRPr lang="en-US"/>
        </a:p>
      </dgm:t>
    </dgm:pt>
    <dgm:pt modelId="{DA298210-D635-A643-BA54-4475372EFA39}">
      <dgm:prSet phldrT="[Text]"/>
      <dgm:spPr/>
      <dgm:t>
        <a:bodyPr/>
        <a:lstStyle/>
        <a:p>
          <a:r>
            <a:rPr lang="en-US" dirty="0"/>
            <a:t>Health</a:t>
          </a:r>
        </a:p>
      </dgm:t>
    </dgm:pt>
    <dgm:pt modelId="{8C025809-AD93-A644-B5CE-94A0942118F8}" type="parTrans" cxnId="{F78F8542-D292-2F45-92F0-3B5C1F151558}">
      <dgm:prSet/>
      <dgm:spPr/>
      <dgm:t>
        <a:bodyPr/>
        <a:lstStyle/>
        <a:p>
          <a:endParaRPr lang="en-US"/>
        </a:p>
      </dgm:t>
    </dgm:pt>
    <dgm:pt modelId="{18C326B8-F055-964B-9E0E-017189A8D188}" type="sibTrans" cxnId="{F78F8542-D292-2F45-92F0-3B5C1F151558}">
      <dgm:prSet/>
      <dgm:spPr/>
      <dgm:t>
        <a:bodyPr/>
        <a:lstStyle/>
        <a:p>
          <a:endParaRPr lang="en-US"/>
        </a:p>
      </dgm:t>
    </dgm:pt>
    <dgm:pt modelId="{B21AC4BB-9874-504D-A304-F033CC3EB1A1}">
      <dgm:prSet phldrT="[Text]"/>
      <dgm:spPr/>
      <dgm:t>
        <a:bodyPr/>
        <a:lstStyle/>
        <a:p>
          <a:r>
            <a:rPr lang="en-US" dirty="0"/>
            <a:t>Disaster Relief</a:t>
          </a:r>
        </a:p>
      </dgm:t>
    </dgm:pt>
    <dgm:pt modelId="{CC6466E8-EEA8-5D40-B31B-0DA1F2291A71}" type="parTrans" cxnId="{57FFBAF7-13C2-9944-9028-F0C132CA7494}">
      <dgm:prSet/>
      <dgm:spPr/>
      <dgm:t>
        <a:bodyPr/>
        <a:lstStyle/>
        <a:p>
          <a:endParaRPr lang="en-US"/>
        </a:p>
      </dgm:t>
    </dgm:pt>
    <dgm:pt modelId="{ADA5B701-9E69-FE47-8106-771ADBBB3311}" type="sibTrans" cxnId="{57FFBAF7-13C2-9944-9028-F0C132CA7494}">
      <dgm:prSet/>
      <dgm:spPr/>
      <dgm:t>
        <a:bodyPr/>
        <a:lstStyle/>
        <a:p>
          <a:endParaRPr lang="en-US"/>
        </a:p>
      </dgm:t>
    </dgm:pt>
    <dgm:pt modelId="{1D117B10-BA5E-F249-B187-A9E49B9FB5CA}" type="pres">
      <dgm:prSet presAssocID="{2A767BB7-6790-2049-AE51-122354F6D111}" presName="Name0" presStyleCnt="0">
        <dgm:presLayoutVars>
          <dgm:dir/>
          <dgm:resizeHandles val="exact"/>
        </dgm:presLayoutVars>
      </dgm:prSet>
      <dgm:spPr/>
    </dgm:pt>
    <dgm:pt modelId="{1BAB19E5-1091-6B4E-92CB-E4E66F81E3DE}" type="pres">
      <dgm:prSet presAssocID="{2A767BB7-6790-2049-AE51-122354F6D111}" presName="fgShape" presStyleLbl="fgShp" presStyleIdx="0" presStyleCnt="1"/>
      <dgm:spPr/>
    </dgm:pt>
    <dgm:pt modelId="{9B4B18BE-45B1-144C-BC0E-60B432EA82B3}" type="pres">
      <dgm:prSet presAssocID="{2A767BB7-6790-2049-AE51-122354F6D111}" presName="linComp" presStyleCnt="0"/>
      <dgm:spPr/>
    </dgm:pt>
    <dgm:pt modelId="{5111C7E3-90D8-9342-ACC1-2D7CD343254C}" type="pres">
      <dgm:prSet presAssocID="{11A79157-DA38-FE4D-ACF2-DF91F2319B9A}" presName="compNode" presStyleCnt="0"/>
      <dgm:spPr/>
    </dgm:pt>
    <dgm:pt modelId="{F302FFD1-275D-E344-B52A-198316D8C8F0}" type="pres">
      <dgm:prSet presAssocID="{11A79157-DA38-FE4D-ACF2-DF91F2319B9A}" presName="bkgdShape" presStyleLbl="node1" presStyleIdx="0" presStyleCnt="4"/>
      <dgm:spPr/>
    </dgm:pt>
    <dgm:pt modelId="{761D7D60-3186-F74E-8323-6B23C8F528A8}" type="pres">
      <dgm:prSet presAssocID="{11A79157-DA38-FE4D-ACF2-DF91F2319B9A}" presName="nodeTx" presStyleLbl="node1" presStyleIdx="0" presStyleCnt="4">
        <dgm:presLayoutVars>
          <dgm:bulletEnabled val="1"/>
        </dgm:presLayoutVars>
      </dgm:prSet>
      <dgm:spPr/>
    </dgm:pt>
    <dgm:pt modelId="{6F178741-2887-E14F-8F4E-B33DE3CC710D}" type="pres">
      <dgm:prSet presAssocID="{11A79157-DA38-FE4D-ACF2-DF91F2319B9A}" presName="invisiNode" presStyleLbl="node1" presStyleIdx="0" presStyleCnt="4"/>
      <dgm:spPr/>
    </dgm:pt>
    <dgm:pt modelId="{1644982B-9119-094C-8AFE-5577D183670D}" type="pres">
      <dgm:prSet presAssocID="{11A79157-DA38-FE4D-ACF2-DF91F2319B9A}" presName="imagNode" presStyleLbl="fgImgPlace1" presStyleIdx="0" presStyleCnt="4"/>
      <dgm:spPr>
        <a:blipFill rotWithShape="1">
          <a:blip xmlns:r="http://schemas.openxmlformats.org/officeDocument/2006/relationships" r:embed="rId1"/>
          <a:stretch>
            <a:fillRect/>
          </a:stretch>
        </a:blipFill>
      </dgm:spPr>
    </dgm:pt>
    <dgm:pt modelId="{9B8FC9F3-BFDF-5641-93B9-4813C04FE210}" type="pres">
      <dgm:prSet presAssocID="{C8EC1CD5-881C-5841-9026-87F3A5034C39}" presName="sibTrans" presStyleLbl="sibTrans2D1" presStyleIdx="0" presStyleCnt="0"/>
      <dgm:spPr/>
    </dgm:pt>
    <dgm:pt modelId="{0D6B2DF8-07A6-BE4A-BCE9-996831640F37}" type="pres">
      <dgm:prSet presAssocID="{5D1D1796-4A94-124C-8FD7-775614172C67}" presName="compNode" presStyleCnt="0"/>
      <dgm:spPr/>
    </dgm:pt>
    <dgm:pt modelId="{0CEA517C-B213-DE47-BC3C-113F9378AFE8}" type="pres">
      <dgm:prSet presAssocID="{5D1D1796-4A94-124C-8FD7-775614172C67}" presName="bkgdShape" presStyleLbl="node1" presStyleIdx="1" presStyleCnt="4"/>
      <dgm:spPr/>
    </dgm:pt>
    <dgm:pt modelId="{40F57637-2796-2846-ABF9-299A8EBC8A8C}" type="pres">
      <dgm:prSet presAssocID="{5D1D1796-4A94-124C-8FD7-775614172C67}" presName="nodeTx" presStyleLbl="node1" presStyleIdx="1" presStyleCnt="4">
        <dgm:presLayoutVars>
          <dgm:bulletEnabled val="1"/>
        </dgm:presLayoutVars>
      </dgm:prSet>
      <dgm:spPr/>
    </dgm:pt>
    <dgm:pt modelId="{4171017A-1A79-0540-ACF7-FAC800185B14}" type="pres">
      <dgm:prSet presAssocID="{5D1D1796-4A94-124C-8FD7-775614172C67}" presName="invisiNode" presStyleLbl="node1" presStyleIdx="1" presStyleCnt="4"/>
      <dgm:spPr/>
    </dgm:pt>
    <dgm:pt modelId="{5F590C37-B294-A94C-9E6F-7D6B67FFAD79}" type="pres">
      <dgm:prSet presAssocID="{5D1D1796-4A94-124C-8FD7-775614172C67}" presName="imagNode" presStyleLbl="fgImgPlace1" presStyleIdx="1" presStyleCnt="4"/>
      <dgm:spPr>
        <a:blipFill rotWithShape="1">
          <a:blip xmlns:r="http://schemas.openxmlformats.org/officeDocument/2006/relationships" r:embed="rId2"/>
          <a:stretch>
            <a:fillRect/>
          </a:stretch>
        </a:blipFill>
      </dgm:spPr>
    </dgm:pt>
    <dgm:pt modelId="{5B60A3BD-B9C1-2443-8F95-D4D4CE13FBE8}" type="pres">
      <dgm:prSet presAssocID="{31F2368F-E55E-6E42-833D-86911CE4B4D7}" presName="sibTrans" presStyleLbl="sibTrans2D1" presStyleIdx="0" presStyleCnt="0"/>
      <dgm:spPr/>
    </dgm:pt>
    <dgm:pt modelId="{7B8AB7CB-E5AB-8A45-93D0-7B2CA9229C24}" type="pres">
      <dgm:prSet presAssocID="{DA298210-D635-A643-BA54-4475372EFA39}" presName="compNode" presStyleCnt="0"/>
      <dgm:spPr/>
    </dgm:pt>
    <dgm:pt modelId="{062B0AB9-41C5-984F-98C4-D7C414DFBEBE}" type="pres">
      <dgm:prSet presAssocID="{DA298210-D635-A643-BA54-4475372EFA39}" presName="bkgdShape" presStyleLbl="node1" presStyleIdx="2" presStyleCnt="4"/>
      <dgm:spPr/>
    </dgm:pt>
    <dgm:pt modelId="{96F6A9EE-8764-F24B-9DF5-59346A430D29}" type="pres">
      <dgm:prSet presAssocID="{DA298210-D635-A643-BA54-4475372EFA39}" presName="nodeTx" presStyleLbl="node1" presStyleIdx="2" presStyleCnt="4">
        <dgm:presLayoutVars>
          <dgm:bulletEnabled val="1"/>
        </dgm:presLayoutVars>
      </dgm:prSet>
      <dgm:spPr/>
    </dgm:pt>
    <dgm:pt modelId="{7FFE8573-8481-6940-ADB5-0E7927A17CB8}" type="pres">
      <dgm:prSet presAssocID="{DA298210-D635-A643-BA54-4475372EFA39}" presName="invisiNode" presStyleLbl="node1" presStyleIdx="2" presStyleCnt="4"/>
      <dgm:spPr/>
    </dgm:pt>
    <dgm:pt modelId="{3EACA25B-511C-3D44-B501-0D9DBA6F2D9C}" type="pres">
      <dgm:prSet presAssocID="{DA298210-D635-A643-BA54-4475372EFA39}" presName="imagNode" presStyleLbl="fgImgPlace1" presStyleIdx="2" presStyleCnt="4"/>
      <dgm:spPr>
        <a:blipFill rotWithShape="1">
          <a:blip xmlns:r="http://schemas.openxmlformats.org/officeDocument/2006/relationships" r:embed="rId3"/>
          <a:stretch>
            <a:fillRect/>
          </a:stretch>
        </a:blipFill>
      </dgm:spPr>
    </dgm:pt>
    <dgm:pt modelId="{4EBDEE1B-B11E-B041-827B-B8396B7954B4}" type="pres">
      <dgm:prSet presAssocID="{18C326B8-F055-964B-9E0E-017189A8D188}" presName="sibTrans" presStyleLbl="sibTrans2D1" presStyleIdx="0" presStyleCnt="0"/>
      <dgm:spPr/>
    </dgm:pt>
    <dgm:pt modelId="{220B5475-051B-5747-89BF-F070EA032C0C}" type="pres">
      <dgm:prSet presAssocID="{B21AC4BB-9874-504D-A304-F033CC3EB1A1}" presName="compNode" presStyleCnt="0"/>
      <dgm:spPr/>
    </dgm:pt>
    <dgm:pt modelId="{2C3A8508-751F-AB47-B60C-A55AF14ED0AE}" type="pres">
      <dgm:prSet presAssocID="{B21AC4BB-9874-504D-A304-F033CC3EB1A1}" presName="bkgdShape" presStyleLbl="node1" presStyleIdx="3" presStyleCnt="4"/>
      <dgm:spPr/>
    </dgm:pt>
    <dgm:pt modelId="{9C3F730E-D233-BC46-8508-5E2A21314D2B}" type="pres">
      <dgm:prSet presAssocID="{B21AC4BB-9874-504D-A304-F033CC3EB1A1}" presName="nodeTx" presStyleLbl="node1" presStyleIdx="3" presStyleCnt="4">
        <dgm:presLayoutVars>
          <dgm:bulletEnabled val="1"/>
        </dgm:presLayoutVars>
      </dgm:prSet>
      <dgm:spPr/>
    </dgm:pt>
    <dgm:pt modelId="{D3BEB7E7-A3D2-C54E-8C90-3D302AF0B586}" type="pres">
      <dgm:prSet presAssocID="{B21AC4BB-9874-504D-A304-F033CC3EB1A1}" presName="invisiNode" presStyleLbl="node1" presStyleIdx="3" presStyleCnt="4"/>
      <dgm:spPr/>
    </dgm:pt>
    <dgm:pt modelId="{62208044-1816-9349-82DE-5F794DC07639}" type="pres">
      <dgm:prSet presAssocID="{B21AC4BB-9874-504D-A304-F033CC3EB1A1}" presName="imagNode" presStyleLbl="fgImgPlace1" presStyleIdx="3" presStyleCnt="4"/>
      <dgm:spPr>
        <a:blipFill rotWithShape="1">
          <a:blip xmlns:r="http://schemas.openxmlformats.org/officeDocument/2006/relationships" r:embed="rId4"/>
          <a:stretch>
            <a:fillRect/>
          </a:stretch>
        </a:blipFill>
      </dgm:spPr>
    </dgm:pt>
  </dgm:ptLst>
  <dgm:cxnLst>
    <dgm:cxn modelId="{1A806A00-4956-2D41-BF16-B0488A11DFB8}" type="presOf" srcId="{DA298210-D635-A643-BA54-4475372EFA39}" destId="{96F6A9EE-8764-F24B-9DF5-59346A430D29}" srcOrd="1" destOrd="0" presId="urn:microsoft.com/office/officeart/2005/8/layout/hList7"/>
    <dgm:cxn modelId="{6DD6AA2B-FAB9-254D-AB0A-F4BF9C4E1E8B}" type="presOf" srcId="{31F2368F-E55E-6E42-833D-86911CE4B4D7}" destId="{5B60A3BD-B9C1-2443-8F95-D4D4CE13FBE8}" srcOrd="0" destOrd="0" presId="urn:microsoft.com/office/officeart/2005/8/layout/hList7"/>
    <dgm:cxn modelId="{F78F8542-D292-2F45-92F0-3B5C1F151558}" srcId="{2A767BB7-6790-2049-AE51-122354F6D111}" destId="{DA298210-D635-A643-BA54-4475372EFA39}" srcOrd="2" destOrd="0" parTransId="{8C025809-AD93-A644-B5CE-94A0942118F8}" sibTransId="{18C326B8-F055-964B-9E0E-017189A8D188}"/>
    <dgm:cxn modelId="{1D0B2444-8BC7-1144-B9A8-32E80C40E28D}" type="presOf" srcId="{B21AC4BB-9874-504D-A304-F033CC3EB1A1}" destId="{2C3A8508-751F-AB47-B60C-A55AF14ED0AE}" srcOrd="0" destOrd="0" presId="urn:microsoft.com/office/officeart/2005/8/layout/hList7"/>
    <dgm:cxn modelId="{0365CE52-1B64-1D46-9A84-58453FCEEDD3}" type="presOf" srcId="{5D1D1796-4A94-124C-8FD7-775614172C67}" destId="{40F57637-2796-2846-ABF9-299A8EBC8A8C}" srcOrd="1" destOrd="0" presId="urn:microsoft.com/office/officeart/2005/8/layout/hList7"/>
    <dgm:cxn modelId="{D7987753-2692-0B4C-B686-06307FB62005}" type="presOf" srcId="{11A79157-DA38-FE4D-ACF2-DF91F2319B9A}" destId="{F302FFD1-275D-E344-B52A-198316D8C8F0}" srcOrd="0" destOrd="0" presId="urn:microsoft.com/office/officeart/2005/8/layout/hList7"/>
    <dgm:cxn modelId="{C5BDB85A-F9B0-8F41-923D-1C4B431B0261}" srcId="{2A767BB7-6790-2049-AE51-122354F6D111}" destId="{5D1D1796-4A94-124C-8FD7-775614172C67}" srcOrd="1" destOrd="0" parTransId="{DC8E0B06-EF36-6C48-853E-FA37332471D8}" sibTransId="{31F2368F-E55E-6E42-833D-86911CE4B4D7}"/>
    <dgm:cxn modelId="{52533E62-289D-284A-B9EC-D4AEB77ACBED}" type="presOf" srcId="{DA298210-D635-A643-BA54-4475372EFA39}" destId="{062B0AB9-41C5-984F-98C4-D7C414DFBEBE}" srcOrd="0" destOrd="0" presId="urn:microsoft.com/office/officeart/2005/8/layout/hList7"/>
    <dgm:cxn modelId="{1F86657F-DEBE-0A40-919A-625F5E0CD669}" type="presOf" srcId="{2A767BB7-6790-2049-AE51-122354F6D111}" destId="{1D117B10-BA5E-F249-B187-A9E49B9FB5CA}" srcOrd="0" destOrd="0" presId="urn:microsoft.com/office/officeart/2005/8/layout/hList7"/>
    <dgm:cxn modelId="{42E22888-05F1-E747-BA3A-4EC54C424438}" type="presOf" srcId="{5D1D1796-4A94-124C-8FD7-775614172C67}" destId="{0CEA517C-B213-DE47-BC3C-113F9378AFE8}" srcOrd="0" destOrd="0" presId="urn:microsoft.com/office/officeart/2005/8/layout/hList7"/>
    <dgm:cxn modelId="{3DC8D2A6-2048-FE42-B26E-11C14515FED8}" type="presOf" srcId="{B21AC4BB-9874-504D-A304-F033CC3EB1A1}" destId="{9C3F730E-D233-BC46-8508-5E2A21314D2B}" srcOrd="1" destOrd="0" presId="urn:microsoft.com/office/officeart/2005/8/layout/hList7"/>
    <dgm:cxn modelId="{7E2E5DB6-E9B2-1A4E-B586-BB4F4AECBF99}" type="presOf" srcId="{18C326B8-F055-964B-9E0E-017189A8D188}" destId="{4EBDEE1B-B11E-B041-827B-B8396B7954B4}" srcOrd="0" destOrd="0" presId="urn:microsoft.com/office/officeart/2005/8/layout/hList7"/>
    <dgm:cxn modelId="{C72549B8-C92D-A94B-B42C-50FC3FFA25ED}" type="presOf" srcId="{C8EC1CD5-881C-5841-9026-87F3A5034C39}" destId="{9B8FC9F3-BFDF-5641-93B9-4813C04FE210}" srcOrd="0" destOrd="0" presId="urn:microsoft.com/office/officeart/2005/8/layout/hList7"/>
    <dgm:cxn modelId="{0B895DC9-BE01-0441-BB50-DE45EC156982}" srcId="{2A767BB7-6790-2049-AE51-122354F6D111}" destId="{11A79157-DA38-FE4D-ACF2-DF91F2319B9A}" srcOrd="0" destOrd="0" parTransId="{AFDE00A1-E45D-6842-B9FD-90EE3FE161DB}" sibTransId="{C8EC1CD5-881C-5841-9026-87F3A5034C39}"/>
    <dgm:cxn modelId="{00A927EC-90F8-D044-938D-606036B5767F}" type="presOf" srcId="{11A79157-DA38-FE4D-ACF2-DF91F2319B9A}" destId="{761D7D60-3186-F74E-8323-6B23C8F528A8}" srcOrd="1" destOrd="0" presId="urn:microsoft.com/office/officeart/2005/8/layout/hList7"/>
    <dgm:cxn modelId="{57FFBAF7-13C2-9944-9028-F0C132CA7494}" srcId="{2A767BB7-6790-2049-AE51-122354F6D111}" destId="{B21AC4BB-9874-504D-A304-F033CC3EB1A1}" srcOrd="3" destOrd="0" parTransId="{CC6466E8-EEA8-5D40-B31B-0DA1F2291A71}" sibTransId="{ADA5B701-9E69-FE47-8106-771ADBBB3311}"/>
    <dgm:cxn modelId="{0E6C9EA1-9259-D649-A801-C9C2094CF243}" type="presParOf" srcId="{1D117B10-BA5E-F249-B187-A9E49B9FB5CA}" destId="{1BAB19E5-1091-6B4E-92CB-E4E66F81E3DE}" srcOrd="0" destOrd="0" presId="urn:microsoft.com/office/officeart/2005/8/layout/hList7"/>
    <dgm:cxn modelId="{D35E50DD-51BF-514F-925D-A52574B5FE83}" type="presParOf" srcId="{1D117B10-BA5E-F249-B187-A9E49B9FB5CA}" destId="{9B4B18BE-45B1-144C-BC0E-60B432EA82B3}" srcOrd="1" destOrd="0" presId="urn:microsoft.com/office/officeart/2005/8/layout/hList7"/>
    <dgm:cxn modelId="{654AEFEE-B284-B844-80BF-B90C0DD7200F}" type="presParOf" srcId="{9B4B18BE-45B1-144C-BC0E-60B432EA82B3}" destId="{5111C7E3-90D8-9342-ACC1-2D7CD343254C}" srcOrd="0" destOrd="0" presId="urn:microsoft.com/office/officeart/2005/8/layout/hList7"/>
    <dgm:cxn modelId="{74CF9450-5D51-284B-A3B3-B9DF50F4256F}" type="presParOf" srcId="{5111C7E3-90D8-9342-ACC1-2D7CD343254C}" destId="{F302FFD1-275D-E344-B52A-198316D8C8F0}" srcOrd="0" destOrd="0" presId="urn:microsoft.com/office/officeart/2005/8/layout/hList7"/>
    <dgm:cxn modelId="{37C9D869-6A5D-1B42-B9B7-DAA4714380F1}" type="presParOf" srcId="{5111C7E3-90D8-9342-ACC1-2D7CD343254C}" destId="{761D7D60-3186-F74E-8323-6B23C8F528A8}" srcOrd="1" destOrd="0" presId="urn:microsoft.com/office/officeart/2005/8/layout/hList7"/>
    <dgm:cxn modelId="{CD5D7408-0D35-4C4C-9324-F81F99F469B2}" type="presParOf" srcId="{5111C7E3-90D8-9342-ACC1-2D7CD343254C}" destId="{6F178741-2887-E14F-8F4E-B33DE3CC710D}" srcOrd="2" destOrd="0" presId="urn:microsoft.com/office/officeart/2005/8/layout/hList7"/>
    <dgm:cxn modelId="{9E000B4F-9668-3843-8943-C8585A838A9B}" type="presParOf" srcId="{5111C7E3-90D8-9342-ACC1-2D7CD343254C}" destId="{1644982B-9119-094C-8AFE-5577D183670D}" srcOrd="3" destOrd="0" presId="urn:microsoft.com/office/officeart/2005/8/layout/hList7"/>
    <dgm:cxn modelId="{464026BE-B2E9-A745-BAE8-6EDB6D346B1D}" type="presParOf" srcId="{9B4B18BE-45B1-144C-BC0E-60B432EA82B3}" destId="{9B8FC9F3-BFDF-5641-93B9-4813C04FE210}" srcOrd="1" destOrd="0" presId="urn:microsoft.com/office/officeart/2005/8/layout/hList7"/>
    <dgm:cxn modelId="{BB5FA1C2-1335-3946-BA0B-F13DBAE5C5C9}" type="presParOf" srcId="{9B4B18BE-45B1-144C-BC0E-60B432EA82B3}" destId="{0D6B2DF8-07A6-BE4A-BCE9-996831640F37}" srcOrd="2" destOrd="0" presId="urn:microsoft.com/office/officeart/2005/8/layout/hList7"/>
    <dgm:cxn modelId="{C5269640-8056-0D4A-9AD8-212819EFC52D}" type="presParOf" srcId="{0D6B2DF8-07A6-BE4A-BCE9-996831640F37}" destId="{0CEA517C-B213-DE47-BC3C-113F9378AFE8}" srcOrd="0" destOrd="0" presId="urn:microsoft.com/office/officeart/2005/8/layout/hList7"/>
    <dgm:cxn modelId="{2C0E0B85-EB4C-2449-9164-850C3BCDF193}" type="presParOf" srcId="{0D6B2DF8-07A6-BE4A-BCE9-996831640F37}" destId="{40F57637-2796-2846-ABF9-299A8EBC8A8C}" srcOrd="1" destOrd="0" presId="urn:microsoft.com/office/officeart/2005/8/layout/hList7"/>
    <dgm:cxn modelId="{5D7ABC81-A541-A84A-97F4-6AE7346F5315}" type="presParOf" srcId="{0D6B2DF8-07A6-BE4A-BCE9-996831640F37}" destId="{4171017A-1A79-0540-ACF7-FAC800185B14}" srcOrd="2" destOrd="0" presId="urn:microsoft.com/office/officeart/2005/8/layout/hList7"/>
    <dgm:cxn modelId="{F05C3708-1F86-5242-8778-DA76B34B07D3}" type="presParOf" srcId="{0D6B2DF8-07A6-BE4A-BCE9-996831640F37}" destId="{5F590C37-B294-A94C-9E6F-7D6B67FFAD79}" srcOrd="3" destOrd="0" presId="urn:microsoft.com/office/officeart/2005/8/layout/hList7"/>
    <dgm:cxn modelId="{073E85AC-5732-884F-B850-810CDB8AA13A}" type="presParOf" srcId="{9B4B18BE-45B1-144C-BC0E-60B432EA82B3}" destId="{5B60A3BD-B9C1-2443-8F95-D4D4CE13FBE8}" srcOrd="3" destOrd="0" presId="urn:microsoft.com/office/officeart/2005/8/layout/hList7"/>
    <dgm:cxn modelId="{D0BCD555-E62A-404F-91EC-38C961E2ADCD}" type="presParOf" srcId="{9B4B18BE-45B1-144C-BC0E-60B432EA82B3}" destId="{7B8AB7CB-E5AB-8A45-93D0-7B2CA9229C24}" srcOrd="4" destOrd="0" presId="urn:microsoft.com/office/officeart/2005/8/layout/hList7"/>
    <dgm:cxn modelId="{44A6225E-3AE1-A446-B02F-578AF195A904}" type="presParOf" srcId="{7B8AB7CB-E5AB-8A45-93D0-7B2CA9229C24}" destId="{062B0AB9-41C5-984F-98C4-D7C414DFBEBE}" srcOrd="0" destOrd="0" presId="urn:microsoft.com/office/officeart/2005/8/layout/hList7"/>
    <dgm:cxn modelId="{21E2A41F-E0AD-7C4D-AE41-FC5741B878A1}" type="presParOf" srcId="{7B8AB7CB-E5AB-8A45-93D0-7B2CA9229C24}" destId="{96F6A9EE-8764-F24B-9DF5-59346A430D29}" srcOrd="1" destOrd="0" presId="urn:microsoft.com/office/officeart/2005/8/layout/hList7"/>
    <dgm:cxn modelId="{07D13F07-14A0-4440-9E67-56D44060ECBC}" type="presParOf" srcId="{7B8AB7CB-E5AB-8A45-93D0-7B2CA9229C24}" destId="{7FFE8573-8481-6940-ADB5-0E7927A17CB8}" srcOrd="2" destOrd="0" presId="urn:microsoft.com/office/officeart/2005/8/layout/hList7"/>
    <dgm:cxn modelId="{8BFA13A6-373F-FF49-9B1E-B45F37CFC8E7}" type="presParOf" srcId="{7B8AB7CB-E5AB-8A45-93D0-7B2CA9229C24}" destId="{3EACA25B-511C-3D44-B501-0D9DBA6F2D9C}" srcOrd="3" destOrd="0" presId="urn:microsoft.com/office/officeart/2005/8/layout/hList7"/>
    <dgm:cxn modelId="{819CD247-FCF9-D447-84F0-36095BBC156D}" type="presParOf" srcId="{9B4B18BE-45B1-144C-BC0E-60B432EA82B3}" destId="{4EBDEE1B-B11E-B041-827B-B8396B7954B4}" srcOrd="5" destOrd="0" presId="urn:microsoft.com/office/officeart/2005/8/layout/hList7"/>
    <dgm:cxn modelId="{EA7FB47D-F599-254A-96AF-5EF32DDEFBF8}" type="presParOf" srcId="{9B4B18BE-45B1-144C-BC0E-60B432EA82B3}" destId="{220B5475-051B-5747-89BF-F070EA032C0C}" srcOrd="6" destOrd="0" presId="urn:microsoft.com/office/officeart/2005/8/layout/hList7"/>
    <dgm:cxn modelId="{A9652489-FD43-FB46-921A-2347A7C66D31}" type="presParOf" srcId="{220B5475-051B-5747-89BF-F070EA032C0C}" destId="{2C3A8508-751F-AB47-B60C-A55AF14ED0AE}" srcOrd="0" destOrd="0" presId="urn:microsoft.com/office/officeart/2005/8/layout/hList7"/>
    <dgm:cxn modelId="{C08E1BA9-C13E-284E-946B-F6204A23E890}" type="presParOf" srcId="{220B5475-051B-5747-89BF-F070EA032C0C}" destId="{9C3F730E-D233-BC46-8508-5E2A21314D2B}" srcOrd="1" destOrd="0" presId="urn:microsoft.com/office/officeart/2005/8/layout/hList7"/>
    <dgm:cxn modelId="{F38A0425-0E03-D240-87AB-7C18B9F72F10}" type="presParOf" srcId="{220B5475-051B-5747-89BF-F070EA032C0C}" destId="{D3BEB7E7-A3D2-C54E-8C90-3D302AF0B586}" srcOrd="2" destOrd="0" presId="urn:microsoft.com/office/officeart/2005/8/layout/hList7"/>
    <dgm:cxn modelId="{932A49DE-54AA-0644-8D93-A7D0C9C657A4}" type="presParOf" srcId="{220B5475-051B-5747-89BF-F070EA032C0C}" destId="{62208044-1816-9349-82DE-5F794DC07639}"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18F7A5-C8EB-49F8-B178-39A1EFB1808A}">
      <dsp:nvSpPr>
        <dsp:cNvPr id="0" name=""/>
        <dsp:cNvSpPr/>
      </dsp:nvSpPr>
      <dsp:spPr>
        <a:xfrm>
          <a:off x="495330" y="324"/>
          <a:ext cx="1029375" cy="1029375"/>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357BD6-F818-4C12-A7FE-518D9C9C68AE}">
      <dsp:nvSpPr>
        <dsp:cNvPr id="0" name=""/>
        <dsp:cNvSpPr/>
      </dsp:nvSpPr>
      <dsp:spPr>
        <a:xfrm>
          <a:off x="714705" y="219699"/>
          <a:ext cx="590625" cy="590625"/>
        </a:xfrm>
        <a:prstGeom prst="rect">
          <a:avLst/>
        </a:prstGeom>
        <a:blipFill rotWithShape="1">
          <a:blip xmlns:r="http://schemas.openxmlformats.org/officeDocument/2006/relationships" r:embed="rId1"/>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C05D03CD-EFE7-4664-9967-D70A72AE5CB4}">
      <dsp:nvSpPr>
        <dsp:cNvPr id="0" name=""/>
        <dsp:cNvSpPr/>
      </dsp:nvSpPr>
      <dsp:spPr>
        <a:xfrm>
          <a:off x="16626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LIVELIHOODS </a:t>
          </a:r>
        </a:p>
      </dsp:txBody>
      <dsp:txXfrm>
        <a:off x="166268" y="1350324"/>
        <a:ext cx="1687500" cy="675000"/>
      </dsp:txXfrm>
    </dsp:sp>
    <dsp:sp modelId="{0A0DB4AA-84C1-472D-A357-202787D832FE}">
      <dsp:nvSpPr>
        <dsp:cNvPr id="0" name=""/>
        <dsp:cNvSpPr/>
      </dsp:nvSpPr>
      <dsp:spPr>
        <a:xfrm>
          <a:off x="2478143" y="324"/>
          <a:ext cx="1029375" cy="1029375"/>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A27A57-73DC-4EEC-BCDD-2CCED2FB3100}">
      <dsp:nvSpPr>
        <dsp:cNvPr id="0" name=""/>
        <dsp:cNvSpPr/>
      </dsp:nvSpPr>
      <dsp:spPr>
        <a:xfrm>
          <a:off x="2697518" y="219699"/>
          <a:ext cx="590625" cy="590625"/>
        </a:xfrm>
        <a:prstGeom prst="rect">
          <a:avLst/>
        </a:prstGeom>
        <a:blipFill rotWithShape="1">
          <a:blip xmlns:r="http://schemas.openxmlformats.org/officeDocument/2006/relationships" r:embed="rId2"/>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0F7B082E-4FE9-4917-B329-641247BB1A4C}">
      <dsp:nvSpPr>
        <dsp:cNvPr id="0" name=""/>
        <dsp:cNvSpPr/>
      </dsp:nvSpPr>
      <dsp:spPr>
        <a:xfrm>
          <a:off x="2149080"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EDUCATION</a:t>
          </a:r>
        </a:p>
      </dsp:txBody>
      <dsp:txXfrm>
        <a:off x="2149080" y="1350324"/>
        <a:ext cx="1687500" cy="675000"/>
      </dsp:txXfrm>
    </dsp:sp>
    <dsp:sp modelId="{4DDB662E-9C5A-443E-85EB-38C79425561F}">
      <dsp:nvSpPr>
        <dsp:cNvPr id="0" name=""/>
        <dsp:cNvSpPr/>
      </dsp:nvSpPr>
      <dsp:spPr>
        <a:xfrm>
          <a:off x="4460955" y="324"/>
          <a:ext cx="1029375" cy="1029375"/>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FF1364-4234-4973-B929-0939DC8B1E0A}">
      <dsp:nvSpPr>
        <dsp:cNvPr id="0" name=""/>
        <dsp:cNvSpPr/>
      </dsp:nvSpPr>
      <dsp:spPr>
        <a:xfrm>
          <a:off x="4680330" y="219699"/>
          <a:ext cx="590625" cy="590625"/>
        </a:xfrm>
        <a:prstGeom prst="rect">
          <a:avLst/>
        </a:prstGeom>
        <a:blipFill rotWithShape="1">
          <a:blip xmlns:r="http://schemas.openxmlformats.org/officeDocument/2006/relationships" r:embed="rId3"/>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24F2ACF0-E2C4-4561-8807-4027546F77C0}">
      <dsp:nvSpPr>
        <dsp:cNvPr id="0" name=""/>
        <dsp:cNvSpPr/>
      </dsp:nvSpPr>
      <dsp:spPr>
        <a:xfrm>
          <a:off x="4131893"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health</a:t>
          </a:r>
        </a:p>
      </dsp:txBody>
      <dsp:txXfrm>
        <a:off x="4131893" y="1350324"/>
        <a:ext cx="1687500" cy="675000"/>
      </dsp:txXfrm>
    </dsp:sp>
    <dsp:sp modelId="{BC570467-27CD-4FBB-9FB0-BED5FF34AD69}">
      <dsp:nvSpPr>
        <dsp:cNvPr id="0" name=""/>
        <dsp:cNvSpPr/>
      </dsp:nvSpPr>
      <dsp:spPr>
        <a:xfrm>
          <a:off x="6443768" y="324"/>
          <a:ext cx="1029375" cy="1029375"/>
        </a:xfrm>
        <a:prstGeom prst="ellipse">
          <a:avLst/>
        </a:prstGeom>
        <a:gradFill rotWithShape="1">
          <a:gsLst>
            <a:gs pos="0">
              <a:schemeClr val="accent1">
                <a:tint val="98000"/>
                <a:lumMod val="110000"/>
              </a:schemeClr>
            </a:gs>
            <a:gs pos="84000">
              <a:schemeClr val="accent1">
                <a:shade val="90000"/>
                <a:lumMod val="88000"/>
              </a:schemeClr>
            </a:gs>
          </a:gsLst>
          <a:lin ang="5400000" scaled="0"/>
        </a:gradFill>
        <a:ln>
          <a:noFill/>
        </a:ln>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dsp:spPr>
      <dsp:style>
        <a:lnRef idx="0">
          <a:schemeClr val="accent1"/>
        </a:lnRef>
        <a:fillRef idx="3">
          <a:schemeClr val="accent1"/>
        </a:fillRef>
        <a:effectRef idx="3">
          <a:schemeClr val="accent1"/>
        </a:effectRef>
        <a:fontRef idx="minor">
          <a:schemeClr val="lt1"/>
        </a:fontRef>
      </dsp:style>
    </dsp:sp>
    <dsp:sp modelId="{FEE21511-25ED-4548-860A-A4D6B7FEE006}">
      <dsp:nvSpPr>
        <dsp:cNvPr id="0" name=""/>
        <dsp:cNvSpPr/>
      </dsp:nvSpPr>
      <dsp:spPr>
        <a:xfrm>
          <a:off x="6663143" y="219699"/>
          <a:ext cx="590625" cy="590625"/>
        </a:xfrm>
        <a:prstGeom prst="rect">
          <a:avLst/>
        </a:prstGeom>
        <a:blipFill rotWithShape="1">
          <a:blip xmlns:r="http://schemas.openxmlformats.org/officeDocument/2006/relationships" r:embed="rId4"/>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72D9B868-BFBE-4871-9AB2-277C67000354}">
      <dsp:nvSpPr>
        <dsp:cNvPr id="0" name=""/>
        <dsp:cNvSpPr/>
      </dsp:nvSpPr>
      <dsp:spPr>
        <a:xfrm>
          <a:off x="6114705"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Disaster Relief</a:t>
          </a:r>
        </a:p>
      </dsp:txBody>
      <dsp:txXfrm>
        <a:off x="6114705" y="1350324"/>
        <a:ext cx="1687500" cy="675000"/>
      </dsp:txXfrm>
    </dsp:sp>
    <dsp:sp modelId="{4D02DBBE-B8AE-3743-9D94-CAB662E3FF54}">
      <dsp:nvSpPr>
        <dsp:cNvPr id="0" name=""/>
        <dsp:cNvSpPr/>
      </dsp:nvSpPr>
      <dsp:spPr>
        <a:xfrm>
          <a:off x="8426581" y="324"/>
          <a:ext cx="1029375" cy="1029375"/>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A36BD7-557A-D442-8874-D06950E41123}">
      <dsp:nvSpPr>
        <dsp:cNvPr id="0" name=""/>
        <dsp:cNvSpPr/>
      </dsp:nvSpPr>
      <dsp:spPr>
        <a:xfrm>
          <a:off x="8645956" y="219699"/>
          <a:ext cx="590625" cy="590625"/>
        </a:xfrm>
        <a:prstGeom prst="rect">
          <a:avLst/>
        </a:prstGeom>
        <a:blipFill rotWithShape="1">
          <a:blip xmlns:r="http://schemas.openxmlformats.org/officeDocument/2006/relationships" r:embed="rId5"/>
          <a:stretch>
            <a:fillRect/>
          </a:stretch>
        </a:blipFill>
        <a:ln w="22225" cap="rnd"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A79E55-8FC3-8C4A-92A0-2B33B964789A}">
      <dsp:nvSpPr>
        <dsp:cNvPr id="0" name=""/>
        <dsp:cNvSpPr/>
      </dsp:nvSpPr>
      <dsp:spPr>
        <a:xfrm>
          <a:off x="809751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dirty="0"/>
            <a:t>Innovation</a:t>
          </a:r>
        </a:p>
      </dsp:txBody>
      <dsp:txXfrm>
        <a:off x="8097518" y="1350324"/>
        <a:ext cx="1687500" cy="675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18F7A5-C8EB-49F8-B178-39A1EFB1808A}">
      <dsp:nvSpPr>
        <dsp:cNvPr id="0" name=""/>
        <dsp:cNvSpPr/>
      </dsp:nvSpPr>
      <dsp:spPr>
        <a:xfrm>
          <a:off x="495330" y="324"/>
          <a:ext cx="1029375" cy="1029375"/>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357BD6-F818-4C12-A7FE-518D9C9C68AE}">
      <dsp:nvSpPr>
        <dsp:cNvPr id="0" name=""/>
        <dsp:cNvSpPr/>
      </dsp:nvSpPr>
      <dsp:spPr>
        <a:xfrm>
          <a:off x="714705" y="219699"/>
          <a:ext cx="590625" cy="590625"/>
        </a:xfrm>
        <a:prstGeom prst="rect">
          <a:avLst/>
        </a:prstGeom>
        <a:blipFill rotWithShape="1">
          <a:blip xmlns:r="http://schemas.openxmlformats.org/officeDocument/2006/relationships" r:embed="rId1"/>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C05D03CD-EFE7-4664-9967-D70A72AE5CB4}">
      <dsp:nvSpPr>
        <dsp:cNvPr id="0" name=""/>
        <dsp:cNvSpPr/>
      </dsp:nvSpPr>
      <dsp:spPr>
        <a:xfrm>
          <a:off x="16626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LIVELIHOODS </a:t>
          </a:r>
        </a:p>
      </dsp:txBody>
      <dsp:txXfrm>
        <a:off x="166268" y="1350324"/>
        <a:ext cx="1687500" cy="675000"/>
      </dsp:txXfrm>
    </dsp:sp>
    <dsp:sp modelId="{0A0DB4AA-84C1-472D-A357-202787D832FE}">
      <dsp:nvSpPr>
        <dsp:cNvPr id="0" name=""/>
        <dsp:cNvSpPr/>
      </dsp:nvSpPr>
      <dsp:spPr>
        <a:xfrm>
          <a:off x="2478143" y="324"/>
          <a:ext cx="1029375" cy="1029375"/>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A27A57-73DC-4EEC-BCDD-2CCED2FB3100}">
      <dsp:nvSpPr>
        <dsp:cNvPr id="0" name=""/>
        <dsp:cNvSpPr/>
      </dsp:nvSpPr>
      <dsp:spPr>
        <a:xfrm>
          <a:off x="2697518" y="219699"/>
          <a:ext cx="590625" cy="590625"/>
        </a:xfrm>
        <a:prstGeom prst="rect">
          <a:avLst/>
        </a:prstGeom>
        <a:blipFill rotWithShape="1">
          <a:blip xmlns:r="http://schemas.openxmlformats.org/officeDocument/2006/relationships" r:embed="rId2"/>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0F7B082E-4FE9-4917-B329-641247BB1A4C}">
      <dsp:nvSpPr>
        <dsp:cNvPr id="0" name=""/>
        <dsp:cNvSpPr/>
      </dsp:nvSpPr>
      <dsp:spPr>
        <a:xfrm>
          <a:off x="2149080"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EDUCATION</a:t>
          </a:r>
        </a:p>
      </dsp:txBody>
      <dsp:txXfrm>
        <a:off x="2149080" y="1350324"/>
        <a:ext cx="1687500" cy="675000"/>
      </dsp:txXfrm>
    </dsp:sp>
    <dsp:sp modelId="{4DDB662E-9C5A-443E-85EB-38C79425561F}">
      <dsp:nvSpPr>
        <dsp:cNvPr id="0" name=""/>
        <dsp:cNvSpPr/>
      </dsp:nvSpPr>
      <dsp:spPr>
        <a:xfrm>
          <a:off x="4460955" y="324"/>
          <a:ext cx="1029375" cy="1029375"/>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FF1364-4234-4973-B929-0939DC8B1E0A}">
      <dsp:nvSpPr>
        <dsp:cNvPr id="0" name=""/>
        <dsp:cNvSpPr/>
      </dsp:nvSpPr>
      <dsp:spPr>
        <a:xfrm>
          <a:off x="4680330" y="219699"/>
          <a:ext cx="590625" cy="590625"/>
        </a:xfrm>
        <a:prstGeom prst="rect">
          <a:avLst/>
        </a:prstGeom>
        <a:blipFill rotWithShape="1">
          <a:blip xmlns:r="http://schemas.openxmlformats.org/officeDocument/2006/relationships" r:embed="rId3"/>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24F2ACF0-E2C4-4561-8807-4027546F77C0}">
      <dsp:nvSpPr>
        <dsp:cNvPr id="0" name=""/>
        <dsp:cNvSpPr/>
      </dsp:nvSpPr>
      <dsp:spPr>
        <a:xfrm>
          <a:off x="4131893"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health</a:t>
          </a:r>
        </a:p>
      </dsp:txBody>
      <dsp:txXfrm>
        <a:off x="4131893" y="1350324"/>
        <a:ext cx="1687500" cy="675000"/>
      </dsp:txXfrm>
    </dsp:sp>
    <dsp:sp modelId="{BC570467-27CD-4FBB-9FB0-BED5FF34AD69}">
      <dsp:nvSpPr>
        <dsp:cNvPr id="0" name=""/>
        <dsp:cNvSpPr/>
      </dsp:nvSpPr>
      <dsp:spPr>
        <a:xfrm>
          <a:off x="6443768" y="324"/>
          <a:ext cx="1029375" cy="1029375"/>
        </a:xfrm>
        <a:prstGeom prst="ellipse">
          <a:avLst/>
        </a:prstGeom>
        <a:gradFill rotWithShape="1">
          <a:gsLst>
            <a:gs pos="0">
              <a:schemeClr val="accent1">
                <a:tint val="98000"/>
                <a:lumMod val="110000"/>
              </a:schemeClr>
            </a:gs>
            <a:gs pos="84000">
              <a:schemeClr val="accent1">
                <a:shade val="90000"/>
                <a:lumMod val="88000"/>
              </a:schemeClr>
            </a:gs>
          </a:gsLst>
          <a:lin ang="5400000" scaled="0"/>
        </a:gradFill>
        <a:ln>
          <a:noFill/>
        </a:ln>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dsp:spPr>
      <dsp:style>
        <a:lnRef idx="0">
          <a:schemeClr val="accent1"/>
        </a:lnRef>
        <a:fillRef idx="3">
          <a:schemeClr val="accent1"/>
        </a:fillRef>
        <a:effectRef idx="3">
          <a:schemeClr val="accent1"/>
        </a:effectRef>
        <a:fontRef idx="minor">
          <a:schemeClr val="lt1"/>
        </a:fontRef>
      </dsp:style>
    </dsp:sp>
    <dsp:sp modelId="{FEE21511-25ED-4548-860A-A4D6B7FEE006}">
      <dsp:nvSpPr>
        <dsp:cNvPr id="0" name=""/>
        <dsp:cNvSpPr/>
      </dsp:nvSpPr>
      <dsp:spPr>
        <a:xfrm>
          <a:off x="6663143" y="219699"/>
          <a:ext cx="590625" cy="590625"/>
        </a:xfrm>
        <a:prstGeom prst="rect">
          <a:avLst/>
        </a:prstGeom>
        <a:blipFill rotWithShape="1">
          <a:blip xmlns:r="http://schemas.openxmlformats.org/officeDocument/2006/relationships" r:embed="rId4"/>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72D9B868-BFBE-4871-9AB2-277C67000354}">
      <dsp:nvSpPr>
        <dsp:cNvPr id="0" name=""/>
        <dsp:cNvSpPr/>
      </dsp:nvSpPr>
      <dsp:spPr>
        <a:xfrm>
          <a:off x="6114705"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Disaster Relief</a:t>
          </a:r>
        </a:p>
      </dsp:txBody>
      <dsp:txXfrm>
        <a:off x="6114705" y="1350324"/>
        <a:ext cx="1687500" cy="675000"/>
      </dsp:txXfrm>
    </dsp:sp>
    <dsp:sp modelId="{4D02DBBE-B8AE-3743-9D94-CAB662E3FF54}">
      <dsp:nvSpPr>
        <dsp:cNvPr id="0" name=""/>
        <dsp:cNvSpPr/>
      </dsp:nvSpPr>
      <dsp:spPr>
        <a:xfrm>
          <a:off x="8426581" y="324"/>
          <a:ext cx="1029375" cy="1029375"/>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A36BD7-557A-D442-8874-D06950E41123}">
      <dsp:nvSpPr>
        <dsp:cNvPr id="0" name=""/>
        <dsp:cNvSpPr/>
      </dsp:nvSpPr>
      <dsp:spPr>
        <a:xfrm>
          <a:off x="8645956" y="219699"/>
          <a:ext cx="590625" cy="590625"/>
        </a:xfrm>
        <a:prstGeom prst="rect">
          <a:avLst/>
        </a:prstGeom>
        <a:blipFill rotWithShape="1">
          <a:blip xmlns:r="http://schemas.openxmlformats.org/officeDocument/2006/relationships" r:embed="rId5"/>
          <a:stretch>
            <a:fillRect/>
          </a:stretch>
        </a:blipFill>
        <a:ln w="22225" cap="rnd"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A79E55-8FC3-8C4A-92A0-2B33B964789A}">
      <dsp:nvSpPr>
        <dsp:cNvPr id="0" name=""/>
        <dsp:cNvSpPr/>
      </dsp:nvSpPr>
      <dsp:spPr>
        <a:xfrm>
          <a:off x="809751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dirty="0"/>
            <a:t>Innovation</a:t>
          </a:r>
        </a:p>
      </dsp:txBody>
      <dsp:txXfrm>
        <a:off x="8097518" y="1350324"/>
        <a:ext cx="1687500" cy="675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D40B56-5CB5-E14F-94C7-89A80D3E0946}">
      <dsp:nvSpPr>
        <dsp:cNvPr id="0" name=""/>
        <dsp:cNvSpPr/>
      </dsp:nvSpPr>
      <dsp:spPr>
        <a:xfrm>
          <a:off x="250380" y="957262"/>
          <a:ext cx="2871787" cy="2871787"/>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w="12700" cap="rnd" cmpd="sng" algn="ctr">
          <a:solidFill>
            <a:schemeClr val="lt1">
              <a:hueOff val="0"/>
              <a:satOff val="0"/>
              <a:lumOff val="0"/>
              <a:alphaOff val="0"/>
            </a:schemeClr>
          </a:solidFill>
          <a:prstDash val="solid"/>
        </a:ln>
        <a:effectLst>
          <a:outerShdw blurRad="38100" dist="25400" dir="5400000" rotWithShape="0">
            <a:srgbClr val="000000">
              <a:alpha val="55000"/>
            </a:srgbClr>
          </a:outerShdw>
        </a:effectLst>
      </dsp:spPr>
      <dsp:style>
        <a:lnRef idx="1">
          <a:scrgbClr r="0" g="0" b="0"/>
        </a:lnRef>
        <a:fillRef idx="3">
          <a:scrgbClr r="0" g="0" b="0"/>
        </a:fillRef>
        <a:effectRef idx="2">
          <a:scrgbClr r="0" g="0" b="0"/>
        </a:effectRef>
        <a:fontRef idx="minor">
          <a:schemeClr val="lt1"/>
        </a:fontRef>
      </dsp:style>
    </dsp:sp>
    <dsp:sp modelId="{CFB731FA-260A-C840-BB3D-997961A96011}">
      <dsp:nvSpPr>
        <dsp:cNvPr id="0" name=""/>
        <dsp:cNvSpPr/>
      </dsp:nvSpPr>
      <dsp:spPr>
        <a:xfrm>
          <a:off x="660806" y="1367688"/>
          <a:ext cx="2050934" cy="2050934"/>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w="12700" cap="rnd" cmpd="sng" algn="ctr">
          <a:solidFill>
            <a:schemeClr val="lt1">
              <a:hueOff val="0"/>
              <a:satOff val="0"/>
              <a:lumOff val="0"/>
              <a:alphaOff val="0"/>
            </a:schemeClr>
          </a:solidFill>
          <a:prstDash val="solid"/>
        </a:ln>
        <a:effectLst>
          <a:outerShdw blurRad="38100" dist="25400" dir="5400000" rotWithShape="0">
            <a:srgbClr val="000000">
              <a:alpha val="55000"/>
            </a:srgbClr>
          </a:outerShdw>
        </a:effectLst>
      </dsp:spPr>
      <dsp:style>
        <a:lnRef idx="1">
          <a:scrgbClr r="0" g="0" b="0"/>
        </a:lnRef>
        <a:fillRef idx="3">
          <a:scrgbClr r="0" g="0" b="0"/>
        </a:fillRef>
        <a:effectRef idx="2">
          <a:scrgbClr r="0" g="0" b="0"/>
        </a:effectRef>
        <a:fontRef idx="minor">
          <a:schemeClr val="lt1"/>
        </a:fontRef>
      </dsp:style>
    </dsp:sp>
    <dsp:sp modelId="{5A56A0EF-05CE-9446-8783-6565EE447900}">
      <dsp:nvSpPr>
        <dsp:cNvPr id="0" name=""/>
        <dsp:cNvSpPr/>
      </dsp:nvSpPr>
      <dsp:spPr>
        <a:xfrm>
          <a:off x="1070993" y="1777875"/>
          <a:ext cx="1230560" cy="1230560"/>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w="12700" cap="rnd" cmpd="sng" algn="ctr">
          <a:solidFill>
            <a:schemeClr val="lt1">
              <a:hueOff val="0"/>
              <a:satOff val="0"/>
              <a:lumOff val="0"/>
              <a:alphaOff val="0"/>
            </a:schemeClr>
          </a:solidFill>
          <a:prstDash val="solid"/>
        </a:ln>
        <a:effectLst>
          <a:outerShdw blurRad="38100" dist="25400" dir="5400000" rotWithShape="0">
            <a:srgbClr val="000000">
              <a:alpha val="55000"/>
            </a:srgbClr>
          </a:outerShdw>
        </a:effectLst>
      </dsp:spPr>
      <dsp:style>
        <a:lnRef idx="1">
          <a:scrgbClr r="0" g="0" b="0"/>
        </a:lnRef>
        <a:fillRef idx="3">
          <a:scrgbClr r="0" g="0" b="0"/>
        </a:fillRef>
        <a:effectRef idx="2">
          <a:scrgbClr r="0" g="0" b="0"/>
        </a:effectRef>
        <a:fontRef idx="minor">
          <a:schemeClr val="lt1"/>
        </a:fontRef>
      </dsp:style>
    </dsp:sp>
    <dsp:sp modelId="{A709A657-065B-7C4F-9C77-D7CF22D0329C}">
      <dsp:nvSpPr>
        <dsp:cNvPr id="0" name=""/>
        <dsp:cNvSpPr/>
      </dsp:nvSpPr>
      <dsp:spPr>
        <a:xfrm>
          <a:off x="1481180" y="2188062"/>
          <a:ext cx="410186" cy="410186"/>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w="12700" cap="rnd" cmpd="sng" algn="ctr">
          <a:solidFill>
            <a:schemeClr val="lt1">
              <a:hueOff val="0"/>
              <a:satOff val="0"/>
              <a:lumOff val="0"/>
              <a:alphaOff val="0"/>
            </a:schemeClr>
          </a:solidFill>
          <a:prstDash val="solid"/>
        </a:ln>
        <a:effectLst>
          <a:outerShdw blurRad="38100" dist="25400" dir="5400000" rotWithShape="0">
            <a:srgbClr val="000000">
              <a:alpha val="55000"/>
            </a:srgbClr>
          </a:outerShdw>
        </a:effectLst>
      </dsp:spPr>
      <dsp:style>
        <a:lnRef idx="1">
          <a:scrgbClr r="0" g="0" b="0"/>
        </a:lnRef>
        <a:fillRef idx="3">
          <a:scrgbClr r="0" g="0" b="0"/>
        </a:fillRef>
        <a:effectRef idx="2">
          <a:scrgbClr r="0" g="0" b="0"/>
        </a:effectRef>
        <a:fontRef idx="minor">
          <a:schemeClr val="lt1"/>
        </a:fontRef>
      </dsp:style>
    </dsp:sp>
    <dsp:sp modelId="{EFDB7C17-1C0C-3844-A36B-4970A2D8C17B}">
      <dsp:nvSpPr>
        <dsp:cNvPr id="0" name=""/>
        <dsp:cNvSpPr/>
      </dsp:nvSpPr>
      <dsp:spPr>
        <a:xfrm>
          <a:off x="3181952" y="0"/>
          <a:ext cx="2774347" cy="686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25400" rIns="25400" bIns="25400" numCol="1" spcCol="1270" anchor="ctr" anchorCtr="0">
          <a:noAutofit/>
        </a:bodyPr>
        <a:lstStyle/>
        <a:p>
          <a:pPr marL="0" lvl="0" indent="0" algn="l" defTabSz="889000">
            <a:lnSpc>
              <a:spcPct val="90000"/>
            </a:lnSpc>
            <a:spcBef>
              <a:spcPct val="0"/>
            </a:spcBef>
            <a:spcAft>
              <a:spcPct val="35000"/>
            </a:spcAft>
            <a:buNone/>
          </a:pPr>
          <a:r>
            <a:rPr lang="en-US" sz="2000" b="0" kern="1200" dirty="0"/>
            <a:t>Livelihoods</a:t>
          </a:r>
        </a:p>
        <a:p>
          <a:pPr marL="0" lvl="0" indent="0" algn="l" defTabSz="889000">
            <a:lnSpc>
              <a:spcPct val="90000"/>
            </a:lnSpc>
            <a:spcBef>
              <a:spcPct val="0"/>
            </a:spcBef>
            <a:spcAft>
              <a:spcPct val="35000"/>
            </a:spcAft>
            <a:buNone/>
          </a:pPr>
          <a:r>
            <a:rPr lang="en-US" sz="2000" b="0" kern="1200" dirty="0"/>
            <a:t>(Scaling Agriculture)</a:t>
          </a:r>
        </a:p>
      </dsp:txBody>
      <dsp:txXfrm>
        <a:off x="3181952" y="0"/>
        <a:ext cx="2774347" cy="686835"/>
      </dsp:txXfrm>
    </dsp:sp>
    <dsp:sp modelId="{D532B2EB-8864-B04B-BDFD-857DE7D66D37}">
      <dsp:nvSpPr>
        <dsp:cNvPr id="0" name=""/>
        <dsp:cNvSpPr/>
      </dsp:nvSpPr>
      <dsp:spPr>
        <a:xfrm>
          <a:off x="3241825" y="343417"/>
          <a:ext cx="358973" cy="0"/>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1A127FDF-DCF6-7142-80CF-C9A0284936AD}">
      <dsp:nvSpPr>
        <dsp:cNvPr id="0" name=""/>
        <dsp:cNvSpPr/>
      </dsp:nvSpPr>
      <dsp:spPr>
        <a:xfrm rot="5400000">
          <a:off x="1437385" y="569571"/>
          <a:ext cx="2029396" cy="1579483"/>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F2861C15-D3C3-4E4D-8C95-2AC1B6EABFAD}">
      <dsp:nvSpPr>
        <dsp:cNvPr id="0" name=""/>
        <dsp:cNvSpPr/>
      </dsp:nvSpPr>
      <dsp:spPr>
        <a:xfrm>
          <a:off x="3531301" y="686835"/>
          <a:ext cx="1574888" cy="686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25400" rIns="25400" bIns="25400" numCol="1" spcCol="1270" anchor="ctr" anchorCtr="0">
          <a:noAutofit/>
        </a:bodyPr>
        <a:lstStyle/>
        <a:p>
          <a:pPr marL="0" lvl="0" indent="0" algn="l" defTabSz="889000">
            <a:lnSpc>
              <a:spcPct val="90000"/>
            </a:lnSpc>
            <a:spcBef>
              <a:spcPct val="0"/>
            </a:spcBef>
            <a:spcAft>
              <a:spcPct val="35000"/>
            </a:spcAft>
            <a:buNone/>
          </a:pPr>
          <a:r>
            <a:rPr lang="en-US" sz="2000" b="0" kern="1200" dirty="0"/>
            <a:t>Health</a:t>
          </a:r>
        </a:p>
      </dsp:txBody>
      <dsp:txXfrm>
        <a:off x="3531301" y="686835"/>
        <a:ext cx="1574888" cy="686835"/>
      </dsp:txXfrm>
    </dsp:sp>
    <dsp:sp modelId="{88E74669-AAAE-FD46-9CD3-282BC8D0E0A2}">
      <dsp:nvSpPr>
        <dsp:cNvPr id="0" name=""/>
        <dsp:cNvSpPr/>
      </dsp:nvSpPr>
      <dsp:spPr>
        <a:xfrm>
          <a:off x="3241825" y="1030253"/>
          <a:ext cx="358973" cy="0"/>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BB2C4887-3D83-9749-A1CE-4EAEF29C1EC5}">
      <dsp:nvSpPr>
        <dsp:cNvPr id="0" name=""/>
        <dsp:cNvSpPr/>
      </dsp:nvSpPr>
      <dsp:spPr>
        <a:xfrm rot="5400000">
          <a:off x="1788701" y="1245159"/>
          <a:ext cx="1666594" cy="1237261"/>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F692B867-92A7-4448-B927-407313E2EE6A}">
      <dsp:nvSpPr>
        <dsp:cNvPr id="0" name=""/>
        <dsp:cNvSpPr/>
      </dsp:nvSpPr>
      <dsp:spPr>
        <a:xfrm>
          <a:off x="3600798" y="1373671"/>
          <a:ext cx="1435893" cy="686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25400" rIns="25400" bIns="25400" numCol="1" spcCol="1270" anchor="ctr" anchorCtr="0">
          <a:noAutofit/>
        </a:bodyPr>
        <a:lstStyle/>
        <a:p>
          <a:pPr marL="0" lvl="0" indent="0" algn="l" defTabSz="889000">
            <a:lnSpc>
              <a:spcPct val="90000"/>
            </a:lnSpc>
            <a:spcBef>
              <a:spcPct val="0"/>
            </a:spcBef>
            <a:spcAft>
              <a:spcPct val="35000"/>
            </a:spcAft>
            <a:buNone/>
          </a:pPr>
          <a:r>
            <a:rPr lang="en-US" sz="2000" b="0" i="0" kern="1200" dirty="0"/>
            <a:t>Disaster Relief</a:t>
          </a:r>
        </a:p>
      </dsp:txBody>
      <dsp:txXfrm>
        <a:off x="3600798" y="1373671"/>
        <a:ext cx="1435893" cy="686835"/>
      </dsp:txXfrm>
    </dsp:sp>
    <dsp:sp modelId="{42C01983-52E2-3D4B-B477-5BDEEA1C98A3}">
      <dsp:nvSpPr>
        <dsp:cNvPr id="0" name=""/>
        <dsp:cNvSpPr/>
      </dsp:nvSpPr>
      <dsp:spPr>
        <a:xfrm>
          <a:off x="3241825" y="1717089"/>
          <a:ext cx="358973" cy="0"/>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FEB3B48E-0E35-2446-950B-62F954F5D58C}">
      <dsp:nvSpPr>
        <dsp:cNvPr id="0" name=""/>
        <dsp:cNvSpPr/>
      </dsp:nvSpPr>
      <dsp:spPr>
        <a:xfrm rot="5400000">
          <a:off x="2128768" y="1874798"/>
          <a:ext cx="1271244" cy="954869"/>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59974942-6540-E346-B5E7-233037A70750}">
      <dsp:nvSpPr>
        <dsp:cNvPr id="0" name=""/>
        <dsp:cNvSpPr/>
      </dsp:nvSpPr>
      <dsp:spPr>
        <a:xfrm>
          <a:off x="3600798" y="2060507"/>
          <a:ext cx="1435893" cy="686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25400" rIns="25400" bIns="25400" numCol="1" spcCol="1270" anchor="ctr" anchorCtr="0">
          <a:noAutofit/>
        </a:bodyPr>
        <a:lstStyle/>
        <a:p>
          <a:pPr marL="0" lvl="0" indent="0" algn="l" defTabSz="889000">
            <a:lnSpc>
              <a:spcPct val="90000"/>
            </a:lnSpc>
            <a:spcBef>
              <a:spcPct val="0"/>
            </a:spcBef>
            <a:spcAft>
              <a:spcPct val="35000"/>
            </a:spcAft>
            <a:buNone/>
          </a:pPr>
          <a:r>
            <a:rPr lang="en-US" sz="2000" b="0" kern="1200" dirty="0"/>
            <a:t>Innovation</a:t>
          </a:r>
        </a:p>
      </dsp:txBody>
      <dsp:txXfrm>
        <a:off x="3600798" y="2060507"/>
        <a:ext cx="1435893" cy="686835"/>
      </dsp:txXfrm>
    </dsp:sp>
    <dsp:sp modelId="{27E7D5C5-1D05-4643-98C5-691ECBA0C824}">
      <dsp:nvSpPr>
        <dsp:cNvPr id="0" name=""/>
        <dsp:cNvSpPr/>
      </dsp:nvSpPr>
      <dsp:spPr>
        <a:xfrm>
          <a:off x="3241825" y="2403925"/>
          <a:ext cx="358973" cy="0"/>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 modelId="{7BE9FE11-5558-804C-979D-8373E39A97A7}">
      <dsp:nvSpPr>
        <dsp:cNvPr id="0" name=""/>
        <dsp:cNvSpPr/>
      </dsp:nvSpPr>
      <dsp:spPr>
        <a:xfrm rot="5400000">
          <a:off x="2469649" y="2506926"/>
          <a:ext cx="873789" cy="667211"/>
        </a:xfrm>
        <a:prstGeom prst="line">
          <a:avLst/>
        </a:prstGeom>
        <a:solidFill>
          <a:schemeClr val="accent1">
            <a:hueOff val="0"/>
            <a:satOff val="0"/>
            <a:lumOff val="0"/>
            <a:alphaOff val="0"/>
          </a:schemeClr>
        </a:solidFill>
        <a:ln w="22225"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1">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1987D3-4BCF-B14B-9CD1-76E429DBA701}">
      <dsp:nvSpPr>
        <dsp:cNvPr id="0" name=""/>
        <dsp:cNvSpPr/>
      </dsp:nvSpPr>
      <dsp:spPr>
        <a:xfrm>
          <a:off x="0" y="47259"/>
          <a:ext cx="5702299" cy="1498864"/>
        </a:xfrm>
        <a:prstGeom prst="roundRect">
          <a:avLst>
            <a:gd name="adj" fmla="val 1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Livelihoods/Scale Agriculture</a:t>
          </a:r>
        </a:p>
        <a:p>
          <a:pPr marL="114300" lvl="1" indent="-114300" algn="l" defTabSz="622300">
            <a:lnSpc>
              <a:spcPct val="90000"/>
            </a:lnSpc>
            <a:spcBef>
              <a:spcPct val="0"/>
            </a:spcBef>
            <a:spcAft>
              <a:spcPct val="15000"/>
            </a:spcAft>
            <a:buChar char="•"/>
          </a:pPr>
          <a:r>
            <a:rPr lang="en-US" sz="1400" kern="1200" dirty="0"/>
            <a:t>Fight food insecurities, poor nutrition and create jobs for Africa’s most populous country </a:t>
          </a:r>
        </a:p>
        <a:p>
          <a:pPr marL="114300" lvl="1" indent="-114300" algn="l" defTabSz="622300">
            <a:lnSpc>
              <a:spcPct val="90000"/>
            </a:lnSpc>
            <a:spcBef>
              <a:spcPct val="0"/>
            </a:spcBef>
            <a:spcAft>
              <a:spcPct val="15000"/>
            </a:spcAft>
            <a:buChar char="•"/>
          </a:pPr>
          <a:r>
            <a:rPr lang="en-US" sz="1400" kern="1200" dirty="0"/>
            <a:t>Innovation in farming methods to scale production </a:t>
          </a:r>
        </a:p>
        <a:p>
          <a:pPr marL="114300" lvl="1" indent="-114300" algn="l" defTabSz="622300">
            <a:lnSpc>
              <a:spcPct val="90000"/>
            </a:lnSpc>
            <a:spcBef>
              <a:spcPct val="0"/>
            </a:spcBef>
            <a:spcAft>
              <a:spcPct val="15000"/>
            </a:spcAft>
            <a:buChar char="•"/>
          </a:pPr>
          <a:r>
            <a:rPr lang="en-US" sz="1400" kern="1200" dirty="0"/>
            <a:t>Connect farmers to supply chains, finance, GAPs, markets</a:t>
          </a:r>
        </a:p>
      </dsp:txBody>
      <dsp:txXfrm>
        <a:off x="1290346" y="47259"/>
        <a:ext cx="4411953" cy="1498864"/>
      </dsp:txXfrm>
    </dsp:sp>
    <dsp:sp modelId="{C31C83FE-C42B-7148-8BBB-F6917A3F6B13}">
      <dsp:nvSpPr>
        <dsp:cNvPr id="0" name=""/>
        <dsp:cNvSpPr/>
      </dsp:nvSpPr>
      <dsp:spPr>
        <a:xfrm>
          <a:off x="149886" y="149886"/>
          <a:ext cx="1140460" cy="1199091"/>
        </a:xfrm>
        <a:prstGeom prst="roundRect">
          <a:avLst>
            <a:gd name="adj" fmla="val 10000"/>
          </a:avLst>
        </a:prstGeom>
        <a:blipFill rotWithShape="1">
          <a:blip xmlns:r="http://schemas.openxmlformats.org/officeDocument/2006/relationships" r:embed="rId1"/>
          <a:stretch>
            <a:fillRect/>
          </a:stretch>
        </a:blipFill>
        <a:ln>
          <a:noFill/>
        </a:ln>
        <a:effectLst>
          <a:outerShdw blurRad="38100" dist="25400" dir="5400000" rotWithShape="0">
            <a:srgbClr val="000000">
              <a:alpha val="55000"/>
            </a:srgbClr>
          </a:outerShdw>
        </a:effectLst>
      </dsp:spPr>
      <dsp:style>
        <a:lnRef idx="0">
          <a:scrgbClr r="0" g="0" b="0"/>
        </a:lnRef>
        <a:fillRef idx="1">
          <a:scrgbClr r="0" g="0" b="0"/>
        </a:fillRef>
        <a:effectRef idx="2">
          <a:scrgbClr r="0" g="0" b="0"/>
        </a:effectRef>
        <a:fontRef idx="minor"/>
      </dsp:style>
    </dsp:sp>
    <dsp:sp modelId="{55E36EFD-A885-A64C-A1EE-93B1C23F8A1D}">
      <dsp:nvSpPr>
        <dsp:cNvPr id="0" name=""/>
        <dsp:cNvSpPr/>
      </dsp:nvSpPr>
      <dsp:spPr>
        <a:xfrm>
          <a:off x="0" y="1648751"/>
          <a:ext cx="5702299" cy="1498864"/>
        </a:xfrm>
        <a:prstGeom prst="roundRect">
          <a:avLst>
            <a:gd name="adj" fmla="val 1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Health</a:t>
          </a:r>
        </a:p>
        <a:p>
          <a:pPr marL="0" lvl="0" indent="0" algn="l" defTabSz="622300">
            <a:lnSpc>
              <a:spcPct val="90000"/>
            </a:lnSpc>
            <a:spcBef>
              <a:spcPct val="0"/>
            </a:spcBef>
            <a:spcAft>
              <a:spcPct val="35000"/>
            </a:spcAft>
            <a:buNone/>
          </a:pPr>
          <a:r>
            <a:rPr lang="en-US" sz="1400" kern="1200" dirty="0"/>
            <a:t>Build capacity to strengthen health systems at state level by  managing spread and deadly effects of communicable diseases e.g. Covid19, Ebola. Key will be to work in consortium with health donors, UN agencies (WHO), GAVI &amp; *MedShare, Bill and Melinda Gates foundation  </a:t>
          </a:r>
        </a:p>
      </dsp:txBody>
      <dsp:txXfrm>
        <a:off x="1290346" y="1648751"/>
        <a:ext cx="4411953" cy="1498864"/>
      </dsp:txXfrm>
    </dsp:sp>
    <dsp:sp modelId="{0C57F7A2-7FA6-C847-8421-B9334C625B9B}">
      <dsp:nvSpPr>
        <dsp:cNvPr id="0" name=""/>
        <dsp:cNvSpPr/>
      </dsp:nvSpPr>
      <dsp:spPr>
        <a:xfrm>
          <a:off x="149886" y="1798637"/>
          <a:ext cx="1140460" cy="1199091"/>
        </a:xfrm>
        <a:prstGeom prst="roundRect">
          <a:avLst>
            <a:gd name="adj" fmla="val 10000"/>
          </a:avLst>
        </a:prstGeom>
        <a:blipFill rotWithShape="1">
          <a:blip xmlns:r="http://schemas.openxmlformats.org/officeDocument/2006/relationships" r:embed="rId2"/>
          <a:stretch>
            <a:fillRect/>
          </a:stretch>
        </a:blipFill>
        <a:ln>
          <a:noFill/>
        </a:ln>
        <a:effectLst>
          <a:outerShdw blurRad="38100" dist="25400" dir="5400000" rotWithShape="0">
            <a:srgbClr val="000000">
              <a:alpha val="55000"/>
            </a:srgbClr>
          </a:outerShdw>
        </a:effectLst>
      </dsp:spPr>
      <dsp:style>
        <a:lnRef idx="0">
          <a:scrgbClr r="0" g="0" b="0"/>
        </a:lnRef>
        <a:fillRef idx="1">
          <a:scrgbClr r="0" g="0" b="0"/>
        </a:fillRef>
        <a:effectRef idx="2">
          <a:scrgbClr r="0" g="0" b="0"/>
        </a:effectRef>
        <a:fontRef idx="minor"/>
      </dsp:style>
    </dsp:sp>
    <dsp:sp modelId="{E6AD638C-BC4A-8947-B1C7-3FE69770F885}">
      <dsp:nvSpPr>
        <dsp:cNvPr id="0" name=""/>
        <dsp:cNvSpPr/>
      </dsp:nvSpPr>
      <dsp:spPr>
        <a:xfrm>
          <a:off x="0" y="3297502"/>
          <a:ext cx="5702299" cy="1498864"/>
        </a:xfrm>
        <a:prstGeom prst="roundRect">
          <a:avLst>
            <a:gd name="adj" fmla="val 1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Disaster Relief</a:t>
          </a:r>
        </a:p>
        <a:p>
          <a:pPr marL="114300" lvl="1" indent="-114300" algn="l" defTabSz="622300">
            <a:lnSpc>
              <a:spcPct val="90000"/>
            </a:lnSpc>
            <a:spcBef>
              <a:spcPct val="0"/>
            </a:spcBef>
            <a:spcAft>
              <a:spcPct val="15000"/>
            </a:spcAft>
            <a:buChar char="•"/>
          </a:pPr>
          <a:r>
            <a:rPr lang="en-US" sz="1400" kern="1200" dirty="0"/>
            <a:t>Immediate relief such as cash transfers, food vouchers and  deworming tablets to help fragile communities bounce back from setbacks caused by disasters</a:t>
          </a:r>
        </a:p>
        <a:p>
          <a:pPr marL="114300" lvl="1" indent="-114300" algn="l" defTabSz="622300">
            <a:lnSpc>
              <a:spcPct val="90000"/>
            </a:lnSpc>
            <a:spcBef>
              <a:spcPct val="0"/>
            </a:spcBef>
            <a:spcAft>
              <a:spcPct val="15000"/>
            </a:spcAft>
            <a:buChar char="•"/>
          </a:pPr>
          <a:r>
            <a:rPr lang="en-US" sz="1400" kern="1200" dirty="0"/>
            <a:t>Build the resilience of communities to withstand shocks caused by: climate, civil unrest or health pandemics (Covid19, Ebola etc.) </a:t>
          </a:r>
        </a:p>
      </dsp:txBody>
      <dsp:txXfrm>
        <a:off x="1290346" y="3297502"/>
        <a:ext cx="4411953" cy="1498864"/>
      </dsp:txXfrm>
    </dsp:sp>
    <dsp:sp modelId="{28DAF55C-279D-3443-A8F7-4F9429B97642}">
      <dsp:nvSpPr>
        <dsp:cNvPr id="0" name=""/>
        <dsp:cNvSpPr/>
      </dsp:nvSpPr>
      <dsp:spPr>
        <a:xfrm>
          <a:off x="149886" y="3447388"/>
          <a:ext cx="1140460" cy="1199091"/>
        </a:xfrm>
        <a:prstGeom prst="roundRect">
          <a:avLst>
            <a:gd name="adj" fmla="val 10000"/>
          </a:avLst>
        </a:prstGeom>
        <a:blipFill rotWithShape="1">
          <a:blip xmlns:r="http://schemas.openxmlformats.org/officeDocument/2006/relationships" r:embed="rId3"/>
          <a:stretch>
            <a:fillRect/>
          </a:stretch>
        </a:blipFill>
        <a:ln>
          <a:noFill/>
        </a:ln>
        <a:effectLst>
          <a:outerShdw blurRad="38100" dist="25400" dir="5400000" rotWithShape="0">
            <a:srgbClr val="000000">
              <a:alpha val="55000"/>
            </a:srgbClr>
          </a:outerShdw>
        </a:effectLst>
      </dsp:spPr>
      <dsp:style>
        <a:lnRef idx="0">
          <a:scrgbClr r="0" g="0" b="0"/>
        </a:lnRef>
        <a:fillRef idx="1">
          <a:scrgbClr r="0" g="0" b="0"/>
        </a:fillRef>
        <a:effectRef idx="2">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4983CC-1F52-B041-A0F6-70836EB7DEC6}">
      <dsp:nvSpPr>
        <dsp:cNvPr id="0" name=""/>
        <dsp:cNvSpPr/>
      </dsp:nvSpPr>
      <dsp:spPr>
        <a:xfrm>
          <a:off x="901103" y="570354"/>
          <a:ext cx="3292983" cy="1143609"/>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E4C189-0965-7447-8F10-34A9C19240F7}">
      <dsp:nvSpPr>
        <dsp:cNvPr id="0" name=""/>
        <dsp:cNvSpPr/>
      </dsp:nvSpPr>
      <dsp:spPr>
        <a:xfrm>
          <a:off x="2246312" y="3484966"/>
          <a:ext cx="638175" cy="408432"/>
        </a:xfrm>
        <a:prstGeom prst="downArrow">
          <a:avLst/>
        </a:prstGeom>
        <a:gradFill rotWithShape="0">
          <a:gsLst>
            <a:gs pos="0">
              <a:schemeClr val="accent1">
                <a:tint val="60000"/>
                <a:hueOff val="0"/>
                <a:satOff val="0"/>
                <a:lumOff val="0"/>
                <a:alphaOff val="0"/>
                <a:tint val="98000"/>
                <a:lumMod val="110000"/>
              </a:schemeClr>
            </a:gs>
            <a:gs pos="84000">
              <a:schemeClr val="accent1">
                <a:tint val="60000"/>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dsp:style>
    </dsp:sp>
    <dsp:sp modelId="{4E7A9016-5FCC-C44E-906F-06664D705381}">
      <dsp:nvSpPr>
        <dsp:cNvPr id="0" name=""/>
        <dsp:cNvSpPr/>
      </dsp:nvSpPr>
      <dsp:spPr>
        <a:xfrm>
          <a:off x="25384" y="3980485"/>
          <a:ext cx="5080015" cy="504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0" kern="1200" dirty="0"/>
            <a:t>Disaster</a:t>
          </a:r>
          <a:r>
            <a:rPr lang="en-US" sz="2000" b="0" kern="1200" baseline="0" dirty="0"/>
            <a:t> Relief Fund/New Revenue streams</a:t>
          </a:r>
          <a:endParaRPr lang="en-US" sz="2000" b="0" kern="1200" dirty="0"/>
        </a:p>
      </dsp:txBody>
      <dsp:txXfrm>
        <a:off x="25384" y="3980485"/>
        <a:ext cx="5080015" cy="504454"/>
      </dsp:txXfrm>
    </dsp:sp>
    <dsp:sp modelId="{3D990349-1834-194E-AF08-25C63ADEEDB8}">
      <dsp:nvSpPr>
        <dsp:cNvPr id="0" name=""/>
        <dsp:cNvSpPr/>
      </dsp:nvSpPr>
      <dsp:spPr>
        <a:xfrm>
          <a:off x="2098319" y="1802287"/>
          <a:ext cx="1148715" cy="1148715"/>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3. Education</a:t>
          </a:r>
        </a:p>
      </dsp:txBody>
      <dsp:txXfrm>
        <a:off x="2266544" y="1970512"/>
        <a:ext cx="812265" cy="812265"/>
      </dsp:txXfrm>
    </dsp:sp>
    <dsp:sp modelId="{5B1E84A8-8B7B-BC4D-ACA7-0ED6BA3B5F92}">
      <dsp:nvSpPr>
        <dsp:cNvPr id="0" name=""/>
        <dsp:cNvSpPr/>
      </dsp:nvSpPr>
      <dsp:spPr>
        <a:xfrm>
          <a:off x="1276350" y="940495"/>
          <a:ext cx="1148715" cy="1148715"/>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1. Livelihoods</a:t>
          </a:r>
        </a:p>
      </dsp:txBody>
      <dsp:txXfrm>
        <a:off x="1444575" y="1108720"/>
        <a:ext cx="812265" cy="812265"/>
      </dsp:txXfrm>
    </dsp:sp>
    <dsp:sp modelId="{0A105F02-8863-4040-8E02-4F045F773151}">
      <dsp:nvSpPr>
        <dsp:cNvPr id="0" name=""/>
        <dsp:cNvSpPr/>
      </dsp:nvSpPr>
      <dsp:spPr>
        <a:xfrm>
          <a:off x="2450592" y="662762"/>
          <a:ext cx="1148715" cy="1148715"/>
        </a:xfrm>
        <a:prstGeom prst="ellipse">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2. Health</a:t>
          </a:r>
        </a:p>
      </dsp:txBody>
      <dsp:txXfrm>
        <a:off x="2618817" y="830987"/>
        <a:ext cx="812265" cy="812265"/>
      </dsp:txXfrm>
    </dsp:sp>
    <dsp:sp modelId="{CA9CE643-42CF-DC41-9494-C2CFE4149834}">
      <dsp:nvSpPr>
        <dsp:cNvPr id="0" name=""/>
        <dsp:cNvSpPr/>
      </dsp:nvSpPr>
      <dsp:spPr>
        <a:xfrm>
          <a:off x="765810" y="607758"/>
          <a:ext cx="3573780" cy="2859024"/>
        </a:xfrm>
        <a:prstGeom prst="funnel">
          <a:avLst/>
        </a:prstGeom>
        <a:solidFill>
          <a:schemeClr val="lt1">
            <a:alpha val="40000"/>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18F7A5-C8EB-49F8-B178-39A1EFB1808A}">
      <dsp:nvSpPr>
        <dsp:cNvPr id="0" name=""/>
        <dsp:cNvSpPr/>
      </dsp:nvSpPr>
      <dsp:spPr>
        <a:xfrm>
          <a:off x="495330" y="324"/>
          <a:ext cx="1029375" cy="1029375"/>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357BD6-F818-4C12-A7FE-518D9C9C68AE}">
      <dsp:nvSpPr>
        <dsp:cNvPr id="0" name=""/>
        <dsp:cNvSpPr/>
      </dsp:nvSpPr>
      <dsp:spPr>
        <a:xfrm>
          <a:off x="714705" y="219699"/>
          <a:ext cx="590625" cy="590625"/>
        </a:xfrm>
        <a:prstGeom prst="rect">
          <a:avLst/>
        </a:prstGeom>
        <a:blipFill rotWithShape="1">
          <a:blip xmlns:r="http://schemas.openxmlformats.org/officeDocument/2006/relationships" r:embed="rId1"/>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C05D03CD-EFE7-4664-9967-D70A72AE5CB4}">
      <dsp:nvSpPr>
        <dsp:cNvPr id="0" name=""/>
        <dsp:cNvSpPr/>
      </dsp:nvSpPr>
      <dsp:spPr>
        <a:xfrm>
          <a:off x="16626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LIVELIHOODS </a:t>
          </a:r>
        </a:p>
      </dsp:txBody>
      <dsp:txXfrm>
        <a:off x="166268" y="1350324"/>
        <a:ext cx="1687500" cy="675000"/>
      </dsp:txXfrm>
    </dsp:sp>
    <dsp:sp modelId="{0A0DB4AA-84C1-472D-A357-202787D832FE}">
      <dsp:nvSpPr>
        <dsp:cNvPr id="0" name=""/>
        <dsp:cNvSpPr/>
      </dsp:nvSpPr>
      <dsp:spPr>
        <a:xfrm>
          <a:off x="2478143" y="324"/>
          <a:ext cx="1029375" cy="1029375"/>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A27A57-73DC-4EEC-BCDD-2CCED2FB3100}">
      <dsp:nvSpPr>
        <dsp:cNvPr id="0" name=""/>
        <dsp:cNvSpPr/>
      </dsp:nvSpPr>
      <dsp:spPr>
        <a:xfrm>
          <a:off x="2697518" y="219699"/>
          <a:ext cx="590625" cy="590625"/>
        </a:xfrm>
        <a:prstGeom prst="rect">
          <a:avLst/>
        </a:prstGeom>
        <a:blipFill rotWithShape="1">
          <a:blip xmlns:r="http://schemas.openxmlformats.org/officeDocument/2006/relationships" r:embed="rId2"/>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0F7B082E-4FE9-4917-B329-641247BB1A4C}">
      <dsp:nvSpPr>
        <dsp:cNvPr id="0" name=""/>
        <dsp:cNvSpPr/>
      </dsp:nvSpPr>
      <dsp:spPr>
        <a:xfrm>
          <a:off x="2149080"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EDUCATION</a:t>
          </a:r>
        </a:p>
      </dsp:txBody>
      <dsp:txXfrm>
        <a:off x="2149080" y="1350324"/>
        <a:ext cx="1687500" cy="675000"/>
      </dsp:txXfrm>
    </dsp:sp>
    <dsp:sp modelId="{4DDB662E-9C5A-443E-85EB-38C79425561F}">
      <dsp:nvSpPr>
        <dsp:cNvPr id="0" name=""/>
        <dsp:cNvSpPr/>
      </dsp:nvSpPr>
      <dsp:spPr>
        <a:xfrm>
          <a:off x="4460955" y="324"/>
          <a:ext cx="1029375" cy="1029375"/>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FF1364-4234-4973-B929-0939DC8B1E0A}">
      <dsp:nvSpPr>
        <dsp:cNvPr id="0" name=""/>
        <dsp:cNvSpPr/>
      </dsp:nvSpPr>
      <dsp:spPr>
        <a:xfrm>
          <a:off x="4680330" y="219699"/>
          <a:ext cx="590625" cy="590625"/>
        </a:xfrm>
        <a:prstGeom prst="rect">
          <a:avLst/>
        </a:prstGeom>
        <a:blipFill rotWithShape="1">
          <a:blip xmlns:r="http://schemas.openxmlformats.org/officeDocument/2006/relationships" r:embed="rId3"/>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24F2ACF0-E2C4-4561-8807-4027546F77C0}">
      <dsp:nvSpPr>
        <dsp:cNvPr id="0" name=""/>
        <dsp:cNvSpPr/>
      </dsp:nvSpPr>
      <dsp:spPr>
        <a:xfrm>
          <a:off x="4131893"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health</a:t>
          </a:r>
        </a:p>
      </dsp:txBody>
      <dsp:txXfrm>
        <a:off x="4131893" y="1350324"/>
        <a:ext cx="1687500" cy="675000"/>
      </dsp:txXfrm>
    </dsp:sp>
    <dsp:sp modelId="{BC570467-27CD-4FBB-9FB0-BED5FF34AD69}">
      <dsp:nvSpPr>
        <dsp:cNvPr id="0" name=""/>
        <dsp:cNvSpPr/>
      </dsp:nvSpPr>
      <dsp:spPr>
        <a:xfrm>
          <a:off x="6443768" y="324"/>
          <a:ext cx="1029375" cy="1029375"/>
        </a:xfrm>
        <a:prstGeom prst="ellipse">
          <a:avLst/>
        </a:prstGeom>
        <a:gradFill rotWithShape="1">
          <a:gsLst>
            <a:gs pos="0">
              <a:schemeClr val="accent1">
                <a:tint val="98000"/>
                <a:lumMod val="110000"/>
              </a:schemeClr>
            </a:gs>
            <a:gs pos="84000">
              <a:schemeClr val="accent1">
                <a:shade val="90000"/>
                <a:lumMod val="88000"/>
              </a:schemeClr>
            </a:gs>
          </a:gsLst>
          <a:lin ang="5400000" scaled="0"/>
        </a:gradFill>
        <a:ln>
          <a:noFill/>
        </a:ln>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dsp:spPr>
      <dsp:style>
        <a:lnRef idx="0">
          <a:schemeClr val="accent1"/>
        </a:lnRef>
        <a:fillRef idx="3">
          <a:schemeClr val="accent1"/>
        </a:fillRef>
        <a:effectRef idx="3">
          <a:schemeClr val="accent1"/>
        </a:effectRef>
        <a:fontRef idx="minor">
          <a:schemeClr val="lt1"/>
        </a:fontRef>
      </dsp:style>
    </dsp:sp>
    <dsp:sp modelId="{FEE21511-25ED-4548-860A-A4D6B7FEE006}">
      <dsp:nvSpPr>
        <dsp:cNvPr id="0" name=""/>
        <dsp:cNvSpPr/>
      </dsp:nvSpPr>
      <dsp:spPr>
        <a:xfrm>
          <a:off x="6663143" y="219699"/>
          <a:ext cx="590625" cy="590625"/>
        </a:xfrm>
        <a:prstGeom prst="rect">
          <a:avLst/>
        </a:prstGeom>
        <a:blipFill rotWithShape="1">
          <a:blip xmlns:r="http://schemas.openxmlformats.org/officeDocument/2006/relationships" r:embed="rId4"/>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72D9B868-BFBE-4871-9AB2-277C67000354}">
      <dsp:nvSpPr>
        <dsp:cNvPr id="0" name=""/>
        <dsp:cNvSpPr/>
      </dsp:nvSpPr>
      <dsp:spPr>
        <a:xfrm>
          <a:off x="6114705"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Disaster Relief</a:t>
          </a:r>
        </a:p>
      </dsp:txBody>
      <dsp:txXfrm>
        <a:off x="6114705" y="1350324"/>
        <a:ext cx="1687500" cy="675000"/>
      </dsp:txXfrm>
    </dsp:sp>
    <dsp:sp modelId="{4D02DBBE-B8AE-3743-9D94-CAB662E3FF54}">
      <dsp:nvSpPr>
        <dsp:cNvPr id="0" name=""/>
        <dsp:cNvSpPr/>
      </dsp:nvSpPr>
      <dsp:spPr>
        <a:xfrm>
          <a:off x="8426581" y="324"/>
          <a:ext cx="1029375" cy="1029375"/>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A36BD7-557A-D442-8874-D06950E41123}">
      <dsp:nvSpPr>
        <dsp:cNvPr id="0" name=""/>
        <dsp:cNvSpPr/>
      </dsp:nvSpPr>
      <dsp:spPr>
        <a:xfrm>
          <a:off x="8645956" y="219699"/>
          <a:ext cx="590625" cy="590625"/>
        </a:xfrm>
        <a:prstGeom prst="rect">
          <a:avLst/>
        </a:prstGeom>
        <a:blipFill rotWithShape="1">
          <a:blip xmlns:r="http://schemas.openxmlformats.org/officeDocument/2006/relationships" r:embed="rId5"/>
          <a:stretch>
            <a:fillRect/>
          </a:stretch>
        </a:blipFill>
        <a:ln w="22225" cap="rnd"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A79E55-8FC3-8C4A-92A0-2B33B964789A}">
      <dsp:nvSpPr>
        <dsp:cNvPr id="0" name=""/>
        <dsp:cNvSpPr/>
      </dsp:nvSpPr>
      <dsp:spPr>
        <a:xfrm>
          <a:off x="8097518" y="1350324"/>
          <a:ext cx="1687500" cy="67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dirty="0"/>
            <a:t>Innovation</a:t>
          </a:r>
        </a:p>
      </dsp:txBody>
      <dsp:txXfrm>
        <a:off x="8097518" y="1350324"/>
        <a:ext cx="1687500" cy="6750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77D35A-E4D0-0A4B-8EE2-793FDCBFEAA2}">
      <dsp:nvSpPr>
        <dsp:cNvPr id="0" name=""/>
        <dsp:cNvSpPr/>
      </dsp:nvSpPr>
      <dsp:spPr>
        <a:xfrm>
          <a:off x="549946" y="369421"/>
          <a:ext cx="4544568" cy="4544568"/>
        </a:xfrm>
        <a:prstGeom prst="pie">
          <a:avLst>
            <a:gd name="adj1" fmla="val 16200000"/>
            <a:gd name="adj2" fmla="val 180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Private Sector, HNWi, Social Media &amp; PR</a:t>
          </a:r>
        </a:p>
      </dsp:txBody>
      <dsp:txXfrm>
        <a:off x="3020785" y="1208002"/>
        <a:ext cx="1541906" cy="1514856"/>
      </dsp:txXfrm>
    </dsp:sp>
    <dsp:sp modelId="{1F114388-4E85-B546-BBAB-E69C94F88EB1}">
      <dsp:nvSpPr>
        <dsp:cNvPr id="0" name=""/>
        <dsp:cNvSpPr/>
      </dsp:nvSpPr>
      <dsp:spPr>
        <a:xfrm>
          <a:off x="315685" y="504676"/>
          <a:ext cx="4544568" cy="4544568"/>
        </a:xfrm>
        <a:prstGeom prst="pie">
          <a:avLst>
            <a:gd name="adj1" fmla="val 1800000"/>
            <a:gd name="adj2" fmla="val 900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Government NGOs &amp;</a:t>
          </a:r>
        </a:p>
        <a:p>
          <a:pPr marL="0" lvl="0" indent="0" algn="ctr" defTabSz="977900">
            <a:lnSpc>
              <a:spcPct val="90000"/>
            </a:lnSpc>
            <a:spcBef>
              <a:spcPct val="0"/>
            </a:spcBef>
            <a:spcAft>
              <a:spcPct val="35000"/>
            </a:spcAft>
            <a:buNone/>
          </a:pPr>
          <a:r>
            <a:rPr lang="en-US" sz="2200" kern="1200" dirty="0"/>
            <a:t>Foundations</a:t>
          </a:r>
        </a:p>
      </dsp:txBody>
      <dsp:txXfrm>
        <a:off x="1560031" y="3372082"/>
        <a:ext cx="2055876" cy="1406652"/>
      </dsp:txXfrm>
    </dsp:sp>
    <dsp:sp modelId="{F71701AC-08FC-5345-92CA-01E3BBCD1D47}">
      <dsp:nvSpPr>
        <dsp:cNvPr id="0" name=""/>
        <dsp:cNvSpPr/>
      </dsp:nvSpPr>
      <dsp:spPr>
        <a:xfrm>
          <a:off x="315685" y="504676"/>
          <a:ext cx="4544568" cy="4544568"/>
        </a:xfrm>
        <a:prstGeom prst="pie">
          <a:avLst>
            <a:gd name="adj1" fmla="val 9000000"/>
            <a:gd name="adj2" fmla="val 16200000"/>
          </a:avLst>
        </a:prstGeom>
        <a:gradFill rotWithShape="0">
          <a:gsLst>
            <a:gs pos="0">
              <a:schemeClr val="accent1">
                <a:hueOff val="0"/>
                <a:satOff val="0"/>
                <a:lumOff val="0"/>
                <a:alphaOff val="0"/>
                <a:tint val="98000"/>
                <a:lumMod val="110000"/>
              </a:schemeClr>
            </a:gs>
            <a:gs pos="84000">
              <a:schemeClr val="accent1">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Donor Agencies</a:t>
          </a:r>
        </a:p>
      </dsp:txBody>
      <dsp:txXfrm>
        <a:off x="802603" y="1397360"/>
        <a:ext cx="1541906" cy="151485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2FFD1-275D-E344-B52A-198316D8C8F0}">
      <dsp:nvSpPr>
        <dsp:cNvPr id="0" name=""/>
        <dsp:cNvSpPr/>
      </dsp:nvSpPr>
      <dsp:spPr>
        <a:xfrm>
          <a:off x="2244" y="0"/>
          <a:ext cx="2352594" cy="5418667"/>
        </a:xfrm>
        <a:prstGeom prst="roundRect">
          <a:avLst>
            <a:gd name="adj" fmla="val 10000"/>
          </a:avLst>
        </a:prstGeom>
        <a:gradFill rotWithShape="0">
          <a:gsLst>
            <a:gs pos="0">
              <a:schemeClr val="accent2">
                <a:hueOff val="0"/>
                <a:satOff val="0"/>
                <a:lumOff val="0"/>
                <a:alphaOff val="0"/>
                <a:tint val="68000"/>
                <a:alpha val="90000"/>
                <a:lumMod val="100000"/>
              </a:schemeClr>
            </a:gs>
            <a:gs pos="100000">
              <a:schemeClr val="accent2">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kern="1200" dirty="0"/>
            <a:t>Livelihoods</a:t>
          </a:r>
        </a:p>
      </dsp:txBody>
      <dsp:txXfrm>
        <a:off x="2244" y="2167466"/>
        <a:ext cx="2352594" cy="2167466"/>
      </dsp:txXfrm>
    </dsp:sp>
    <dsp:sp modelId="{1644982B-9119-094C-8AFE-5577D183670D}">
      <dsp:nvSpPr>
        <dsp:cNvPr id="0" name=""/>
        <dsp:cNvSpPr/>
      </dsp:nvSpPr>
      <dsp:spPr>
        <a:xfrm>
          <a:off x="276333" y="325120"/>
          <a:ext cx="1804416" cy="1804416"/>
        </a:xfrm>
        <a:prstGeom prst="ellipse">
          <a:avLst/>
        </a:prstGeom>
        <a:blipFill rotWithShape="1">
          <a:blip xmlns:r="http://schemas.openxmlformats.org/officeDocument/2006/relationships" r:embed="rId1"/>
          <a:stretch>
            <a:fillRect/>
          </a:stretch>
        </a:blipFill>
        <a:ln w="12700"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0CEA517C-B213-DE47-BC3C-113F9378AFE8}">
      <dsp:nvSpPr>
        <dsp:cNvPr id="0" name=""/>
        <dsp:cNvSpPr/>
      </dsp:nvSpPr>
      <dsp:spPr>
        <a:xfrm>
          <a:off x="2425416" y="0"/>
          <a:ext cx="2352594" cy="5418667"/>
        </a:xfrm>
        <a:prstGeom prst="roundRect">
          <a:avLst>
            <a:gd name="adj" fmla="val 10000"/>
          </a:avLst>
        </a:prstGeom>
        <a:gradFill rotWithShape="0">
          <a:gsLst>
            <a:gs pos="0">
              <a:schemeClr val="accent3">
                <a:hueOff val="0"/>
                <a:satOff val="0"/>
                <a:lumOff val="0"/>
                <a:alphaOff val="0"/>
                <a:tint val="68000"/>
                <a:alpha val="90000"/>
                <a:lumMod val="100000"/>
              </a:schemeClr>
            </a:gs>
            <a:gs pos="100000">
              <a:schemeClr val="accent3">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kern="1200" dirty="0"/>
            <a:t>Education</a:t>
          </a:r>
        </a:p>
      </dsp:txBody>
      <dsp:txXfrm>
        <a:off x="2425416" y="2167466"/>
        <a:ext cx="2352594" cy="2167466"/>
      </dsp:txXfrm>
    </dsp:sp>
    <dsp:sp modelId="{5F590C37-B294-A94C-9E6F-7D6B67FFAD79}">
      <dsp:nvSpPr>
        <dsp:cNvPr id="0" name=""/>
        <dsp:cNvSpPr/>
      </dsp:nvSpPr>
      <dsp:spPr>
        <a:xfrm>
          <a:off x="2699505" y="325120"/>
          <a:ext cx="1804416" cy="1804416"/>
        </a:xfrm>
        <a:prstGeom prst="ellipse">
          <a:avLst/>
        </a:prstGeom>
        <a:blipFill rotWithShape="1">
          <a:blip xmlns:r="http://schemas.openxmlformats.org/officeDocument/2006/relationships" r:embed="rId2"/>
          <a:stretch>
            <a:fillRect/>
          </a:stretch>
        </a:blipFill>
        <a:ln w="12700"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062B0AB9-41C5-984F-98C4-D7C414DFBEBE}">
      <dsp:nvSpPr>
        <dsp:cNvPr id="0" name=""/>
        <dsp:cNvSpPr/>
      </dsp:nvSpPr>
      <dsp:spPr>
        <a:xfrm>
          <a:off x="4848588" y="0"/>
          <a:ext cx="2352594" cy="5418667"/>
        </a:xfrm>
        <a:prstGeom prst="roundRect">
          <a:avLst>
            <a:gd name="adj" fmla="val 10000"/>
          </a:avLst>
        </a:prstGeom>
        <a:gradFill rotWithShape="0">
          <a:gsLst>
            <a:gs pos="0">
              <a:schemeClr val="accent4">
                <a:hueOff val="0"/>
                <a:satOff val="0"/>
                <a:lumOff val="0"/>
                <a:alphaOff val="0"/>
                <a:tint val="68000"/>
                <a:alpha val="90000"/>
                <a:lumMod val="100000"/>
              </a:schemeClr>
            </a:gs>
            <a:gs pos="100000">
              <a:schemeClr val="accent4">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kern="1200" dirty="0"/>
            <a:t>Health</a:t>
          </a:r>
        </a:p>
      </dsp:txBody>
      <dsp:txXfrm>
        <a:off x="4848588" y="2167466"/>
        <a:ext cx="2352594" cy="2167466"/>
      </dsp:txXfrm>
    </dsp:sp>
    <dsp:sp modelId="{3EACA25B-511C-3D44-B501-0D9DBA6F2D9C}">
      <dsp:nvSpPr>
        <dsp:cNvPr id="0" name=""/>
        <dsp:cNvSpPr/>
      </dsp:nvSpPr>
      <dsp:spPr>
        <a:xfrm>
          <a:off x="5122678" y="325120"/>
          <a:ext cx="1804416" cy="1804416"/>
        </a:xfrm>
        <a:prstGeom prst="ellipse">
          <a:avLst/>
        </a:prstGeom>
        <a:blipFill rotWithShape="1">
          <a:blip xmlns:r="http://schemas.openxmlformats.org/officeDocument/2006/relationships" r:embed="rId3"/>
          <a:stretch>
            <a:fillRect/>
          </a:stretch>
        </a:blipFill>
        <a:ln w="12700"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2C3A8508-751F-AB47-B60C-A55AF14ED0AE}">
      <dsp:nvSpPr>
        <dsp:cNvPr id="0" name=""/>
        <dsp:cNvSpPr/>
      </dsp:nvSpPr>
      <dsp:spPr>
        <a:xfrm>
          <a:off x="7271761" y="0"/>
          <a:ext cx="2352594" cy="5418667"/>
        </a:xfrm>
        <a:prstGeom prst="roundRect">
          <a:avLst>
            <a:gd name="adj" fmla="val 10000"/>
          </a:avLst>
        </a:prstGeom>
        <a:gradFill rotWithShape="0">
          <a:gsLst>
            <a:gs pos="0">
              <a:schemeClr val="accent5">
                <a:hueOff val="0"/>
                <a:satOff val="0"/>
                <a:lumOff val="0"/>
                <a:alphaOff val="0"/>
                <a:tint val="68000"/>
                <a:alpha val="90000"/>
                <a:lumMod val="100000"/>
              </a:schemeClr>
            </a:gs>
            <a:gs pos="100000">
              <a:schemeClr val="accent5">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kern="1200" dirty="0"/>
            <a:t>Disaster Relief</a:t>
          </a:r>
        </a:p>
      </dsp:txBody>
      <dsp:txXfrm>
        <a:off x="7271761" y="2167466"/>
        <a:ext cx="2352594" cy="2167466"/>
      </dsp:txXfrm>
    </dsp:sp>
    <dsp:sp modelId="{62208044-1816-9349-82DE-5F794DC07639}">
      <dsp:nvSpPr>
        <dsp:cNvPr id="0" name=""/>
        <dsp:cNvSpPr/>
      </dsp:nvSpPr>
      <dsp:spPr>
        <a:xfrm>
          <a:off x="7545850" y="325120"/>
          <a:ext cx="1804416" cy="1804416"/>
        </a:xfrm>
        <a:prstGeom prst="ellipse">
          <a:avLst/>
        </a:prstGeom>
        <a:blipFill rotWithShape="1">
          <a:blip xmlns:r="http://schemas.openxmlformats.org/officeDocument/2006/relationships" r:embed="rId4"/>
          <a:stretch>
            <a:fillRect/>
          </a:stretch>
        </a:blipFill>
        <a:ln w="12700"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1BAB19E5-1091-6B4E-92CB-E4E66F81E3DE}">
      <dsp:nvSpPr>
        <dsp:cNvPr id="0" name=""/>
        <dsp:cNvSpPr/>
      </dsp:nvSpPr>
      <dsp:spPr>
        <a:xfrm>
          <a:off x="385063" y="4334933"/>
          <a:ext cx="8856472" cy="812800"/>
        </a:xfrm>
        <a:prstGeom prst="leftRightArrow">
          <a:avLst/>
        </a:prstGeom>
        <a:gradFill rotWithShape="0">
          <a:gsLst>
            <a:gs pos="0">
              <a:schemeClr val="accent2">
                <a:tint val="40000"/>
                <a:hueOff val="0"/>
                <a:satOff val="0"/>
                <a:lumOff val="0"/>
                <a:alphaOff val="0"/>
                <a:tint val="68000"/>
                <a:alpha val="90000"/>
                <a:lumMod val="100000"/>
              </a:schemeClr>
            </a:gs>
            <a:gs pos="100000">
              <a:schemeClr val="accent2">
                <a:tint val="40000"/>
                <a:hueOff val="0"/>
                <a:satOff val="0"/>
                <a:lumOff val="0"/>
                <a:alphaOff val="0"/>
                <a:tint val="90000"/>
                <a:lumMod val="95000"/>
              </a:schemeClr>
            </a:gs>
          </a:gsLst>
          <a:lin ang="5400000" scaled="1"/>
        </a:gradFill>
        <a:ln w="12700" cap="rnd" cmpd="sng" algn="ctr">
          <a:solidFill>
            <a:schemeClr val="lt1">
              <a:hueOff val="0"/>
              <a:satOff val="0"/>
              <a:lumOff val="0"/>
              <a:alphaOff val="0"/>
            </a:schemeClr>
          </a:solidFill>
          <a:prstDash val="solid"/>
        </a:ln>
        <a:effectLst/>
        <a:scene3d>
          <a:camera prst="orthographicFront"/>
          <a:lightRig rig="flat" dir="t"/>
        </a:scene3d>
        <a:sp3d prstMaterial="dkEdge">
          <a:bevelT w="8200" h="38100"/>
        </a:sp3d>
      </dsp:spPr>
      <dsp:style>
        <a:lnRef idx="1">
          <a:scrgbClr r="0" g="0" b="0"/>
        </a:lnRef>
        <a:fillRef idx="2">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7.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8FE76D8-4BCF-0340-8A52-E167E644FB58}" type="datetimeFigureOut">
              <a:rPr lang="en-US" smtClean="0"/>
              <a:t>3/17/25</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07EE82-6D31-4A4A-B31C-D1F350D4D10A}" type="slidenum">
              <a:rPr lang="en-US" smtClean="0"/>
              <a:t>‹#›</a:t>
            </a:fld>
            <a:endParaRPr lang="en-US" dirty="0"/>
          </a:p>
        </p:txBody>
      </p:sp>
    </p:spTree>
    <p:extLst>
      <p:ext uri="{BB962C8B-B14F-4D97-AF65-F5344CB8AC3E}">
        <p14:creationId xmlns:p14="http://schemas.microsoft.com/office/powerpoint/2010/main" val="32267970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ABA0C5-8A59-439F-80BB-4B3B01D228E7}" type="datetimeFigureOut">
              <a:rPr lang="en-US" smtClean="0"/>
              <a:t>3/17/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1C017A-E51C-4CD1-A7B6-6AD3E340CE7B}" type="slidenum">
              <a:rPr lang="en-US" smtClean="0"/>
              <a:t>‹#›</a:t>
            </a:fld>
            <a:endParaRPr lang="en-US" dirty="0"/>
          </a:p>
        </p:txBody>
      </p:sp>
    </p:spTree>
    <p:extLst>
      <p:ext uri="{BB962C8B-B14F-4D97-AF65-F5344CB8AC3E}">
        <p14:creationId xmlns:p14="http://schemas.microsoft.com/office/powerpoint/2010/main" val="21541779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hoto credits: Getty images - </a:t>
            </a:r>
            <a:r>
              <a:rPr lang="en-US" sz="1200" i="1" kern="1200" dirty="0">
                <a:solidFill>
                  <a:schemeClr val="tx1"/>
                </a:solidFill>
                <a:effectLst/>
                <a:latin typeface="+mn-lt"/>
                <a:ea typeface="+mn-ea"/>
                <a:cs typeface="+mn-cs"/>
              </a:rPr>
              <a:t>The majestic ruins of the temple at Kom Ombo on the banks of the Nile River in Egypt</a:t>
            </a:r>
            <a:r>
              <a:rPr lang="en-US" sz="900" dirty="0">
                <a:effectLst/>
              </a:rPr>
              <a:t> </a:t>
            </a:r>
            <a:endParaRPr lang="en-US" sz="900" dirty="0"/>
          </a:p>
        </p:txBody>
      </p:sp>
      <p:sp>
        <p:nvSpPr>
          <p:cNvPr id="4" name="Slide Number Placeholder 3"/>
          <p:cNvSpPr>
            <a:spLocks noGrp="1"/>
          </p:cNvSpPr>
          <p:nvPr>
            <p:ph type="sldNum" sz="quarter" idx="10"/>
          </p:nvPr>
        </p:nvSpPr>
        <p:spPr/>
        <p:txBody>
          <a:bodyPr/>
          <a:lstStyle/>
          <a:p>
            <a:fld id="{CA2D21D1-52E2-420B-B491-CFF6D7BB79FB}" type="slidenum">
              <a:rPr lang="en-US" smtClean="0"/>
              <a:pPr/>
              <a:t>1</a:t>
            </a:fld>
            <a:endParaRPr lang="en-US" dirty="0"/>
          </a:p>
        </p:txBody>
      </p:sp>
    </p:spTree>
    <p:extLst>
      <p:ext uri="{BB962C8B-B14F-4D97-AF65-F5344CB8AC3E}">
        <p14:creationId xmlns:p14="http://schemas.microsoft.com/office/powerpoint/2010/main" val="903515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18920">
              <a:defRPr/>
            </a:pPr>
            <a:endParaRPr lang="en-IN" dirty="0"/>
          </a:p>
        </p:txBody>
      </p:sp>
      <p:sp>
        <p:nvSpPr>
          <p:cNvPr id="4" name="Slide Number Placeholder 3"/>
          <p:cNvSpPr>
            <a:spLocks noGrp="1"/>
          </p:cNvSpPr>
          <p:nvPr>
            <p:ph type="sldNum" sz="quarter" idx="5"/>
          </p:nvPr>
        </p:nvSpPr>
        <p:spPr/>
        <p:txBody>
          <a:bodyPr/>
          <a:lstStyle/>
          <a:p>
            <a:fld id="{CA2D21D1-52E2-420B-B491-CFF6D7BB79FB}" type="slidenum">
              <a:rPr lang="en-US" smtClean="0"/>
              <a:pPr/>
              <a:t>2</a:t>
            </a:fld>
            <a:endParaRPr lang="en-US" dirty="0"/>
          </a:p>
        </p:txBody>
      </p:sp>
    </p:spTree>
    <p:extLst>
      <p:ext uri="{BB962C8B-B14F-4D97-AF65-F5344CB8AC3E}">
        <p14:creationId xmlns:p14="http://schemas.microsoft.com/office/powerpoint/2010/main" val="2751635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1C017A-E51C-4CD1-A7B6-6AD3E340CE7B}" type="slidenum">
              <a:rPr lang="en-US" smtClean="0"/>
              <a:t>6</a:t>
            </a:fld>
            <a:endParaRPr lang="en-US" dirty="0"/>
          </a:p>
        </p:txBody>
      </p:sp>
    </p:spTree>
    <p:extLst>
      <p:ext uri="{BB962C8B-B14F-4D97-AF65-F5344CB8AC3E}">
        <p14:creationId xmlns:p14="http://schemas.microsoft.com/office/powerpoint/2010/main" val="2569221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A57DAAD-CA5C-4B28-AEB0-3F229DB38E84}" type="slidenum">
              <a:rPr lang="en-US" smtClean="0"/>
              <a:t>13</a:t>
            </a:fld>
            <a:endParaRPr lang="en-US" dirty="0"/>
          </a:p>
        </p:txBody>
      </p:sp>
      <p:sp>
        <p:nvSpPr>
          <p:cNvPr id="6" name="Notes Placeholder 5">
            <a:extLst>
              <a:ext uri="{FF2B5EF4-FFF2-40B4-BE49-F238E27FC236}">
                <a16:creationId xmlns:a16="http://schemas.microsoft.com/office/drawing/2014/main" id="{A0E2779A-71EB-794F-BAF3-EF572B85D47A}"/>
              </a:ext>
            </a:extLst>
          </p:cNvPr>
          <p:cNvSpPr>
            <a:spLocks noGrp="1"/>
          </p:cNvSpPr>
          <p:nvPr>
            <p:ph type="body" sz="quarter" idx="3"/>
          </p:nvPr>
        </p:nvSpPr>
        <p:spPr/>
        <p:txBody>
          <a:bodyPr/>
          <a:lstStyle/>
          <a:p>
            <a:pPr marL="171450" indent="-171450" algn="l" defTabSz="914400" rtl="0" eaLnBrk="1" latinLnBrk="0" hangingPunct="1">
              <a:buFont typeface="Wingdings" pitchFamily="2" charset="2"/>
              <a:buChar char="§"/>
            </a:pPr>
            <a:endParaRPr lang="en-US" sz="1200" kern="1200" dirty="0">
              <a:solidFill>
                <a:schemeClr val="tx1"/>
              </a:solidFill>
              <a:latin typeface="+mn-lt"/>
              <a:ea typeface="+mn-ea"/>
              <a:cs typeface="+mn-cs"/>
            </a:endParaRPr>
          </a:p>
          <a:p>
            <a:pPr marL="171450" indent="-171450" algn="l" defTabSz="914400" rtl="0" eaLnBrk="1" latinLnBrk="0" hangingPunct="1">
              <a:buFont typeface="Wingdings" pitchFamily="2" charset="2"/>
              <a:buChar char="§"/>
            </a:pPr>
            <a:endParaRPr lang="en-US" sz="1200" kern="1200" dirty="0">
              <a:solidFill>
                <a:schemeClr val="tx1"/>
              </a:solidFill>
              <a:latin typeface="+mn-lt"/>
              <a:ea typeface="+mn-ea"/>
              <a:cs typeface="+mn-cs"/>
            </a:endParaRPr>
          </a:p>
          <a:p>
            <a:endParaRPr lang="en-US" dirty="0"/>
          </a:p>
        </p:txBody>
      </p:sp>
    </p:spTree>
    <p:extLst>
      <p:ext uri="{BB962C8B-B14F-4D97-AF65-F5344CB8AC3E}">
        <p14:creationId xmlns:p14="http://schemas.microsoft.com/office/powerpoint/2010/main" val="4104243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credit: Baskets made by women’s savings</a:t>
            </a:r>
            <a:r>
              <a:rPr lang="en-US" baseline="0" dirty="0"/>
              <a:t> group in Rwanda</a:t>
            </a:r>
            <a:endParaRPr lang="en-US" dirty="0"/>
          </a:p>
        </p:txBody>
      </p:sp>
      <p:sp>
        <p:nvSpPr>
          <p:cNvPr id="4" name="Slide Number Placeholder 3"/>
          <p:cNvSpPr>
            <a:spLocks noGrp="1"/>
          </p:cNvSpPr>
          <p:nvPr>
            <p:ph type="sldNum" sz="quarter" idx="10"/>
          </p:nvPr>
        </p:nvSpPr>
        <p:spPr/>
        <p:txBody>
          <a:bodyPr/>
          <a:lstStyle/>
          <a:p>
            <a:fld id="{501C017A-E51C-4CD1-A7B6-6AD3E340CE7B}" type="slidenum">
              <a:rPr lang="en-US" smtClean="0"/>
              <a:t>16</a:t>
            </a:fld>
            <a:endParaRPr lang="en-US" dirty="0"/>
          </a:p>
        </p:txBody>
      </p:sp>
    </p:spTree>
    <p:extLst>
      <p:ext uri="{BB962C8B-B14F-4D97-AF65-F5344CB8AC3E}">
        <p14:creationId xmlns:p14="http://schemas.microsoft.com/office/powerpoint/2010/main" val="30388400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r>
              <a:rPr lang="en-US" dirty="0"/>
              <a:t>DISSERTATION DEFENSE_SARAH KAYONGO_04302020</a:t>
            </a:r>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DISSERTATION DEFENSE_SARAH KAYONGO_04302020</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774923" y="5951811"/>
            <a:ext cx="7896279" cy="365125"/>
          </a:xfrm>
        </p:spPr>
        <p:txBody>
          <a:bodyPr/>
          <a:lstStyle/>
          <a:p>
            <a:r>
              <a:rPr lang="en-US" dirty="0"/>
              <a:t>DISSERTATION DEFENSE_SARAH KAYONGO_04302020</a:t>
            </a:r>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1492241"/>
            <a:ext cx="6960321" cy="3888010"/>
          </a:xfrm>
        </p:spPr>
        <p:txBody>
          <a:bodyPr/>
          <a:lstStyle/>
          <a:p>
            <a:endParaRPr lang="en-US" dirty="0"/>
          </a:p>
        </p:txBody>
      </p:sp>
    </p:spTree>
    <p:extLst>
      <p:ext uri="{BB962C8B-B14F-4D97-AF65-F5344CB8AC3E}">
        <p14:creationId xmlns:p14="http://schemas.microsoft.com/office/powerpoint/2010/main" val="624891834"/>
      </p:ext>
    </p:extLst>
  </p:cSld>
  <p:clrMapOvr>
    <a:masterClrMapping/>
  </p:clrMapOvr>
  <mc:AlternateContent xmlns:mc="http://schemas.openxmlformats.org/markup-compatibility/2006" xmlns:p14="http://schemas.microsoft.com/office/powerpoint/2010/main">
    <mc:Choice Requires="p14">
      <p:transition spd="slow" p14:dur="1200" advClick="0">
        <p14:prism/>
      </p:transition>
    </mc:Choice>
    <mc:Fallback xmlns="">
      <p:transition spd="slow"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5A701E8-6078-4BDF-98EE-D32D32F2C417}"/>
              </a:ext>
            </a:extLst>
          </p:cNvPr>
          <p:cNvSpPr>
            <a:spLocks noGrp="1"/>
          </p:cNvSpPr>
          <p:nvPr>
            <p:ph type="pic" sz="quarter" idx="10"/>
          </p:nvPr>
        </p:nvSpPr>
        <p:spPr>
          <a:xfrm>
            <a:off x="765375" y="0"/>
            <a:ext cx="4970169" cy="6858000"/>
          </a:xfrm>
        </p:spPr>
        <p:txBody>
          <a:bodyPr anchor="ctr"/>
          <a:lstStyle>
            <a:lvl1pPr marL="0" indent="0" algn="ctr">
              <a:buNone/>
              <a:defRPr>
                <a:solidFill>
                  <a:schemeClr val="bg1"/>
                </a:solidFill>
              </a:defRPr>
            </a:lvl1pPr>
          </a:lstStyle>
          <a:p>
            <a:endParaRPr lang="en-IN" dirty="0"/>
          </a:p>
        </p:txBody>
      </p:sp>
    </p:spTree>
    <p:extLst>
      <p:ext uri="{BB962C8B-B14F-4D97-AF65-F5344CB8AC3E}">
        <p14:creationId xmlns:p14="http://schemas.microsoft.com/office/powerpoint/2010/main" val="19421680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normAutofit/>
          </a:bodyPr>
          <a:lstStyle>
            <a:lvl1pPr>
              <a:defRPr sz="3200" b="1"/>
            </a:lvl1pPr>
          </a:lstStyle>
          <a:p>
            <a:r>
              <a:rPr lang="en-US" dirty="0"/>
              <a:t>Click to edit Master title style</a:t>
            </a:r>
          </a:p>
        </p:txBody>
      </p:sp>
      <p:sp>
        <p:nvSpPr>
          <p:cNvPr id="3" name="Content Placeholder 2"/>
          <p:cNvSpPr>
            <a:spLocks noGrp="1"/>
          </p:cNvSpPr>
          <p:nvPr>
            <p:ph idx="1"/>
          </p:nvPr>
        </p:nvSpPr>
        <p:spPr>
          <a:xfrm>
            <a:off x="581192" y="2180496"/>
            <a:ext cx="11029615" cy="3678303"/>
          </a:xfrm>
        </p:spPr>
        <p:txBody>
          <a:bodyPr anchor="t">
            <a:normAutofit/>
          </a:bodyPr>
          <a:lstStyle>
            <a:lvl1pPr>
              <a:spcBef>
                <a:spcPts val="1800"/>
              </a:spcBef>
              <a:spcAft>
                <a:spcPts val="0"/>
              </a:spcAft>
              <a:defRPr sz="2400">
                <a:solidFill>
                  <a:schemeClr val="tx1"/>
                </a:solidFill>
                <a:latin typeface="Calibri" panose="020F0502020204030204" pitchFamily="34" charset="0"/>
              </a:defRPr>
            </a:lvl1pPr>
            <a:lvl2pPr marL="630000" indent="-306000">
              <a:spcBef>
                <a:spcPts val="600"/>
              </a:spcBef>
              <a:spcAft>
                <a:spcPts val="0"/>
              </a:spcAft>
              <a:buFont typeface="Arial" panose="020B0604020202020204" pitchFamily="34" charset="0"/>
              <a:buChar char="•"/>
              <a:defRPr sz="2000">
                <a:solidFill>
                  <a:schemeClr val="tx1"/>
                </a:solidFill>
                <a:latin typeface="Calibri" panose="020F0502020204030204" pitchFamily="34" charset="0"/>
              </a:defRPr>
            </a:lvl2pPr>
            <a:lvl3pPr marL="900000" indent="-270000">
              <a:spcBef>
                <a:spcPts val="600"/>
              </a:spcBef>
              <a:spcAft>
                <a:spcPts val="0"/>
              </a:spcAft>
              <a:buFont typeface="Calibri" panose="020F0502020204030204" pitchFamily="34" charset="0"/>
              <a:buChar char="‒"/>
              <a:defRPr sz="1800">
                <a:solidFill>
                  <a:schemeClr val="tx1"/>
                </a:solidFill>
                <a:latin typeface="Calibri" panose="020F0502020204030204" pitchFamily="34" charset="0"/>
              </a:defRPr>
            </a:lvl3pPr>
            <a:lvl4pPr>
              <a:spcBef>
                <a:spcPts val="0"/>
              </a:spcBef>
              <a:spcAft>
                <a:spcPts val="0"/>
              </a:spcAft>
              <a:defRPr sz="1600">
                <a:solidFill>
                  <a:schemeClr val="tx1"/>
                </a:solidFill>
                <a:latin typeface="Calibri" panose="020F0502020204030204" pitchFamily="34" charset="0"/>
              </a:defRPr>
            </a:lvl4pPr>
            <a:lvl5pPr>
              <a:spcBef>
                <a:spcPts val="0"/>
              </a:spcBef>
              <a:spcAft>
                <a:spcPts val="0"/>
              </a:spcAft>
              <a:defRPr sz="1600">
                <a:solidFill>
                  <a:schemeClr val="tx1"/>
                </a:solidFill>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2449902" y="6230874"/>
            <a:ext cx="4962236" cy="365125"/>
          </a:xfrm>
        </p:spPr>
        <p:txBody>
          <a:bodyPr/>
          <a:lstStyle>
            <a:lvl1pPr>
              <a:defRPr sz="1200"/>
            </a:lvl1pPr>
          </a:lstStyle>
          <a:p>
            <a:r>
              <a:rPr lang="en-US" dirty="0"/>
              <a:t>DISSERTATION DEFENSE_SARAH KAYONGO_04302020</a:t>
            </a:r>
          </a:p>
        </p:txBody>
      </p:sp>
      <p:sp>
        <p:nvSpPr>
          <p:cNvPr id="6" name="Slide Number Placeholder 5"/>
          <p:cNvSpPr>
            <a:spLocks noGrp="1"/>
          </p:cNvSpPr>
          <p:nvPr>
            <p:ph type="sldNum" sz="quarter" idx="12"/>
          </p:nvPr>
        </p:nvSpPr>
        <p:spPr>
          <a:xfrm>
            <a:off x="10558299" y="6230873"/>
            <a:ext cx="1052508" cy="365125"/>
          </a:xfrm>
        </p:spPr>
        <p:txBody>
          <a:bodyPr/>
          <a:lstStyle>
            <a:lvl1pPr>
              <a:defRPr sz="1200"/>
            </a:lvl1pPr>
          </a:lstStyle>
          <a:p>
            <a:fld id="{D57F1E4F-1CFF-5643-939E-217C01CDF565}" type="slidenum">
              <a:rPr lang="en-US" smtClean="0"/>
              <a:pPr/>
              <a:t>‹#›</a:t>
            </a:fld>
            <a:endParaRPr lang="en-US" dirty="0"/>
          </a:p>
        </p:txBody>
      </p:sp>
      <p:pic>
        <p:nvPicPr>
          <p:cNvPr id="8" name="Picture 2" descr="Related image">
            <a:extLst>
              <a:ext uri="{FF2B5EF4-FFF2-40B4-BE49-F238E27FC236}">
                <a16:creationId xmlns:a16="http://schemas.microsoft.com/office/drawing/2014/main" id="{51C237E1-29C1-4355-81BD-7C5C905D719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81192" y="5931970"/>
            <a:ext cx="2019133" cy="807653"/>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r>
              <a:rPr lang="en-US" dirty="0"/>
              <a:t>DISSERTATION DEFENSE_SARAH KAYONGO_04302020</a:t>
            </a:r>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DISSERTATION DEFENSE_SARAH KAYONGO_04302020</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DISSERTATION DEFENSE_SARAH KAYONGO_04302020</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DISSERTATION DEFENSE_SARAH KAYONGO_04302020</a:t>
            </a:r>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dirty="0"/>
              <a:t>DISSERTATION DEFENSE_SARAH KAYONGO_04302020</a:t>
            </a:r>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r>
              <a:rPr lang="en-US" dirty="0"/>
              <a:t>DISSERTATION DEFENSE_SARAH KAYONGO_04302020</a:t>
            </a:r>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DISSERTATION DEFENSE_SARAH KAYONGO_04302020</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F4AC489-1813-FA4B-8384-896D7A9A848C}"/>
              </a:ext>
            </a:extLst>
          </p:cNvPr>
          <p:cNvGraphicFramePr>
            <a:graphicFrameLocks noChangeAspect="1"/>
          </p:cNvGraphicFramePr>
          <p:nvPr userDrawn="1">
            <p:custDataLst>
              <p:tags r:id="rId15"/>
            </p:custDataLst>
            <p:extLst>
              <p:ext uri="{D42A27DB-BD31-4B8C-83A1-F6EECF244321}">
                <p14:modId xmlns:p14="http://schemas.microsoft.com/office/powerpoint/2010/main" val="292871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3" name="Object 12" hidden="1">
                        <a:extLst>
                          <a:ext uri="{FF2B5EF4-FFF2-40B4-BE49-F238E27FC236}">
                            <a16:creationId xmlns:a16="http://schemas.microsoft.com/office/drawing/2014/main" id="{EF4AC489-1813-FA4B-8384-896D7A9A848C}"/>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3AA596D-545A-4045-B0AE-3861C1FCBBFC}"/>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Gill Sans MT" panose="020B0502020104020203" pitchFamily="34" charset="77"/>
              <a:ea typeface="+mj-ea"/>
              <a:sym typeface="Gill Sans MT" panose="020B0502020104020203" pitchFamily="34" charset="77"/>
            </a:endParaRPr>
          </a:p>
        </p:txBody>
      </p:sp>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r>
              <a:rPr lang="en-US" dirty="0"/>
              <a:t>DISSERTATION DEFENSE_SARAH KAYONGO_04302020</a:t>
            </a:r>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hf hdr="0" dt="0"/>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cid:image001.jpg@01D635C6.392CEA90" TargetMode="Externa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20.png"/><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hyperlink" Target="https://www.statista.com/statistics/gross-domestic-product-gdp-growth-rate-in-nigeria/"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hyperlink" Target="https://blogs.microsoft.com/blog/2020/04/15/a-healthy-society-requires-a-healthy-planet/" TargetMode="Externa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low angle photography curtain wall buildings"/>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t="12800" b="12800"/>
          <a:stretch>
            <a:fillRect/>
          </a:stretch>
        </p:blipFill>
        <p:spPr bwMode="auto">
          <a:xfrm>
            <a:off x="1" y="1492241"/>
            <a:ext cx="6934200" cy="388801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9"/>
          <p:cNvSpPr/>
          <p:nvPr/>
        </p:nvSpPr>
        <p:spPr>
          <a:xfrm>
            <a:off x="5375732" y="1600200"/>
            <a:ext cx="6816268" cy="3802006"/>
          </a:xfrm>
          <a:custGeom>
            <a:avLst/>
            <a:gdLst>
              <a:gd name="connsiteX0" fmla="*/ 0 w 6886501"/>
              <a:gd name="connsiteY0" fmla="*/ 0 h 3312368"/>
              <a:gd name="connsiteX1" fmla="*/ 6886501 w 6886501"/>
              <a:gd name="connsiteY1" fmla="*/ 0 h 3312368"/>
              <a:gd name="connsiteX2" fmla="*/ 6886501 w 6886501"/>
              <a:gd name="connsiteY2" fmla="*/ 3312368 h 3312368"/>
              <a:gd name="connsiteX3" fmla="*/ 0 w 6886501"/>
              <a:gd name="connsiteY3" fmla="*/ 3312368 h 3312368"/>
              <a:gd name="connsiteX4" fmla="*/ 0 w 6886501"/>
              <a:gd name="connsiteY4" fmla="*/ 0 h 3312368"/>
              <a:gd name="connsiteX0" fmla="*/ 1371600 w 8258101"/>
              <a:gd name="connsiteY0" fmla="*/ 0 h 3340943"/>
              <a:gd name="connsiteX1" fmla="*/ 8258101 w 8258101"/>
              <a:gd name="connsiteY1" fmla="*/ 0 h 3340943"/>
              <a:gd name="connsiteX2" fmla="*/ 8258101 w 8258101"/>
              <a:gd name="connsiteY2" fmla="*/ 3312368 h 3340943"/>
              <a:gd name="connsiteX3" fmla="*/ 0 w 8258101"/>
              <a:gd name="connsiteY3" fmla="*/ 3340943 h 3340943"/>
              <a:gd name="connsiteX4" fmla="*/ 1371600 w 8258101"/>
              <a:gd name="connsiteY4" fmla="*/ 0 h 3340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8101" h="3340943">
                <a:moveTo>
                  <a:pt x="1371600" y="0"/>
                </a:moveTo>
                <a:lnTo>
                  <a:pt x="8258101" y="0"/>
                </a:lnTo>
                <a:lnTo>
                  <a:pt x="8258101" y="3312368"/>
                </a:lnTo>
                <a:lnTo>
                  <a:pt x="0" y="3340943"/>
                </a:lnTo>
                <a:lnTo>
                  <a:pt x="13716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9"/>
          <p:cNvSpPr/>
          <p:nvPr/>
        </p:nvSpPr>
        <p:spPr>
          <a:xfrm>
            <a:off x="5780004" y="1092200"/>
            <a:ext cx="6411996" cy="4711700"/>
          </a:xfrm>
          <a:custGeom>
            <a:avLst/>
            <a:gdLst>
              <a:gd name="connsiteX0" fmla="*/ 0 w 6886501"/>
              <a:gd name="connsiteY0" fmla="*/ 0 h 3312368"/>
              <a:gd name="connsiteX1" fmla="*/ 6886501 w 6886501"/>
              <a:gd name="connsiteY1" fmla="*/ 0 h 3312368"/>
              <a:gd name="connsiteX2" fmla="*/ 6886501 w 6886501"/>
              <a:gd name="connsiteY2" fmla="*/ 3312368 h 3312368"/>
              <a:gd name="connsiteX3" fmla="*/ 0 w 6886501"/>
              <a:gd name="connsiteY3" fmla="*/ 3312368 h 3312368"/>
              <a:gd name="connsiteX4" fmla="*/ 0 w 6886501"/>
              <a:gd name="connsiteY4" fmla="*/ 0 h 3312368"/>
              <a:gd name="connsiteX0" fmla="*/ 1371600 w 8258101"/>
              <a:gd name="connsiteY0" fmla="*/ 0 h 3340943"/>
              <a:gd name="connsiteX1" fmla="*/ 8258101 w 8258101"/>
              <a:gd name="connsiteY1" fmla="*/ 0 h 3340943"/>
              <a:gd name="connsiteX2" fmla="*/ 8258101 w 8258101"/>
              <a:gd name="connsiteY2" fmla="*/ 3312368 h 3340943"/>
              <a:gd name="connsiteX3" fmla="*/ 0 w 8258101"/>
              <a:gd name="connsiteY3" fmla="*/ 3340943 h 3340943"/>
              <a:gd name="connsiteX4" fmla="*/ 1371600 w 8258101"/>
              <a:gd name="connsiteY4" fmla="*/ 0 h 3340943"/>
              <a:gd name="connsiteX0" fmla="*/ 756936 w 8258101"/>
              <a:gd name="connsiteY0" fmla="*/ 0 h 3454788"/>
              <a:gd name="connsiteX1" fmla="*/ 8258101 w 8258101"/>
              <a:gd name="connsiteY1" fmla="*/ 113845 h 3454788"/>
              <a:gd name="connsiteX2" fmla="*/ 8258101 w 8258101"/>
              <a:gd name="connsiteY2" fmla="*/ 3426213 h 3454788"/>
              <a:gd name="connsiteX3" fmla="*/ 0 w 8258101"/>
              <a:gd name="connsiteY3" fmla="*/ 3454788 h 3454788"/>
              <a:gd name="connsiteX4" fmla="*/ 756936 w 8258101"/>
              <a:gd name="connsiteY4" fmla="*/ 0 h 3454788"/>
              <a:gd name="connsiteX0" fmla="*/ 576153 w 8077318"/>
              <a:gd name="connsiteY0" fmla="*/ 0 h 3454788"/>
              <a:gd name="connsiteX1" fmla="*/ 8077318 w 8077318"/>
              <a:gd name="connsiteY1" fmla="*/ 113845 h 3454788"/>
              <a:gd name="connsiteX2" fmla="*/ 8077318 w 8077318"/>
              <a:gd name="connsiteY2" fmla="*/ 3426213 h 3454788"/>
              <a:gd name="connsiteX3" fmla="*/ 0 w 8077318"/>
              <a:gd name="connsiteY3" fmla="*/ 3454788 h 3454788"/>
              <a:gd name="connsiteX4" fmla="*/ 576153 w 8077318"/>
              <a:gd name="connsiteY4" fmla="*/ 0 h 345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7318" h="3454788">
                <a:moveTo>
                  <a:pt x="576153" y="0"/>
                </a:moveTo>
                <a:lnTo>
                  <a:pt x="8077318" y="113845"/>
                </a:lnTo>
                <a:lnTo>
                  <a:pt x="8077318" y="3426213"/>
                </a:lnTo>
                <a:lnTo>
                  <a:pt x="0" y="3454788"/>
                </a:lnTo>
                <a:lnTo>
                  <a:pt x="576153" y="0"/>
                </a:lnTo>
                <a:close/>
              </a:path>
            </a:pathLst>
          </a:custGeom>
          <a:solidFill>
            <a:schemeClr val="accent4">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15220FA3-AF51-456B-9C47-646C1B832C62}"/>
              </a:ext>
            </a:extLst>
          </p:cNvPr>
          <p:cNvSpPr txBox="1">
            <a:spLocks/>
          </p:cNvSpPr>
          <p:nvPr/>
        </p:nvSpPr>
        <p:spPr>
          <a:xfrm>
            <a:off x="1587899" y="665409"/>
            <a:ext cx="1595359" cy="369332"/>
          </a:xfrm>
          <a:prstGeom prst="rect">
            <a:avLst/>
          </a:prstGeom>
          <a:noFill/>
        </p:spPr>
        <p:txBody>
          <a:bodyPr wrap="none" rtlCol="0" anchor="b">
            <a:spAutoFit/>
          </a:bodyPr>
          <a:lstStyle/>
          <a:p>
            <a:r>
              <a:rPr lang="en-US" sz="1800" b="1" kern="0" dirty="0">
                <a:solidFill>
                  <a:schemeClr val="tx1">
                    <a:lumMod val="75000"/>
                    <a:lumOff val="25000"/>
                  </a:schemeClr>
                </a:solidFill>
                <a:latin typeface="Arial" pitchFamily="34" charset="0"/>
                <a:cs typeface="Arial" pitchFamily="34" charset="0"/>
              </a:rPr>
              <a:t>YOUR LOGO</a:t>
            </a:r>
          </a:p>
        </p:txBody>
      </p:sp>
      <p:sp>
        <p:nvSpPr>
          <p:cNvPr id="18" name="TextBox 17">
            <a:extLst>
              <a:ext uri="{FF2B5EF4-FFF2-40B4-BE49-F238E27FC236}">
                <a16:creationId xmlns:a16="http://schemas.microsoft.com/office/drawing/2014/main" id="{3F61B841-5CF6-492E-9C24-9AD6C26AACDF}"/>
              </a:ext>
            </a:extLst>
          </p:cNvPr>
          <p:cNvSpPr txBox="1"/>
          <p:nvPr/>
        </p:nvSpPr>
        <p:spPr>
          <a:xfrm>
            <a:off x="1587899" y="1034742"/>
            <a:ext cx="1783324" cy="276999"/>
          </a:xfrm>
          <a:prstGeom prst="rect">
            <a:avLst/>
          </a:prstGeom>
          <a:noFill/>
        </p:spPr>
        <p:txBody>
          <a:bodyPr wrap="none" rtlCol="0">
            <a:spAutoFit/>
          </a:bodyPr>
          <a:lstStyle/>
          <a:p>
            <a:r>
              <a:rPr lang="en-US" sz="1200" kern="0" dirty="0">
                <a:solidFill>
                  <a:schemeClr val="tx1">
                    <a:lumMod val="50000"/>
                    <a:lumOff val="50000"/>
                  </a:schemeClr>
                </a:solidFill>
                <a:latin typeface="Arial" pitchFamily="34" charset="0"/>
                <a:cs typeface="Arial" pitchFamily="34" charset="0"/>
              </a:rPr>
              <a:t>YOUR SLOGAN HERE</a:t>
            </a:r>
          </a:p>
        </p:txBody>
      </p:sp>
      <p:sp>
        <p:nvSpPr>
          <p:cNvPr id="16" name="TextBox 15">
            <a:extLst>
              <a:ext uri="{FF2B5EF4-FFF2-40B4-BE49-F238E27FC236}">
                <a16:creationId xmlns:a16="http://schemas.microsoft.com/office/drawing/2014/main" id="{3F61B841-5CF6-492E-9C24-9AD6C26AACDF}"/>
              </a:ext>
            </a:extLst>
          </p:cNvPr>
          <p:cNvSpPr txBox="1">
            <a:spLocks/>
          </p:cNvSpPr>
          <p:nvPr/>
        </p:nvSpPr>
        <p:spPr>
          <a:xfrm>
            <a:off x="6311901" y="3418319"/>
            <a:ext cx="5689600" cy="2646879"/>
          </a:xfrm>
          <a:prstGeom prst="rect">
            <a:avLst/>
          </a:prstGeom>
          <a:noFill/>
        </p:spPr>
        <p:txBody>
          <a:bodyPr wrap="square" rtlCol="0">
            <a:spAutoFit/>
          </a:bodyPr>
          <a:lstStyle/>
          <a:p>
            <a:pPr algn="ctr"/>
            <a:r>
              <a:rPr lang="en-US" b="1" kern="0" dirty="0">
                <a:solidFill>
                  <a:schemeClr val="tx1">
                    <a:lumMod val="75000"/>
                    <a:lumOff val="25000"/>
                  </a:schemeClr>
                </a:solidFill>
                <a:latin typeface="+mj-lt"/>
                <a:cs typeface="Arial" pitchFamily="34" charset="0"/>
              </a:rPr>
              <a:t> Dr. Sarah Kayongo</a:t>
            </a:r>
          </a:p>
          <a:p>
            <a:pPr algn="ctr"/>
            <a:endParaRPr lang="en-US" b="1" kern="0" dirty="0">
              <a:solidFill>
                <a:schemeClr val="tx1">
                  <a:lumMod val="75000"/>
                  <a:lumOff val="25000"/>
                </a:schemeClr>
              </a:solidFill>
              <a:latin typeface="+mj-lt"/>
              <a:cs typeface="Arial" pitchFamily="34" charset="0"/>
            </a:endParaRPr>
          </a:p>
          <a:p>
            <a:pPr algn="ctr"/>
            <a:r>
              <a:rPr lang="en-US" b="1" kern="0" dirty="0">
                <a:solidFill>
                  <a:schemeClr val="tx1">
                    <a:lumMod val="75000"/>
                    <a:lumOff val="25000"/>
                  </a:schemeClr>
                </a:solidFill>
                <a:latin typeface="+mj-lt"/>
                <a:cs typeface="Arial" pitchFamily="34" charset="0"/>
              </a:rPr>
              <a:t>Interview Panel:</a:t>
            </a:r>
          </a:p>
          <a:p>
            <a:pPr algn="ctr"/>
            <a:endParaRPr lang="en-US" b="1" kern="0" dirty="0">
              <a:solidFill>
                <a:schemeClr val="tx1">
                  <a:lumMod val="75000"/>
                  <a:lumOff val="25000"/>
                </a:schemeClr>
              </a:solidFill>
              <a:latin typeface="+mj-lt"/>
              <a:cs typeface="Arial" pitchFamily="34" charset="0"/>
            </a:endParaRPr>
          </a:p>
          <a:p>
            <a:pPr algn="ctr"/>
            <a:r>
              <a:rPr lang="en-US" kern="0" dirty="0">
                <a:solidFill>
                  <a:schemeClr val="tx1">
                    <a:lumMod val="75000"/>
                    <a:lumOff val="25000"/>
                  </a:schemeClr>
                </a:solidFill>
                <a:latin typeface="+mj-lt"/>
                <a:cs typeface="Arial" pitchFamily="34" charset="0"/>
              </a:rPr>
              <a:t>Scott Desmarais</a:t>
            </a:r>
            <a:endParaRPr lang="en-US" kern="0" dirty="0">
              <a:solidFill>
                <a:schemeClr val="tx1">
                  <a:lumMod val="85000"/>
                  <a:lumOff val="15000"/>
                </a:schemeClr>
              </a:solidFill>
              <a:cs typeface="Arial" pitchFamily="34" charset="0"/>
            </a:endParaRPr>
          </a:p>
          <a:p>
            <a:pPr algn="ctr"/>
            <a:r>
              <a:rPr lang="en-US" dirty="0">
                <a:solidFill>
                  <a:schemeClr val="tx1">
                    <a:lumMod val="85000"/>
                    <a:lumOff val="15000"/>
                  </a:schemeClr>
                </a:solidFill>
              </a:rPr>
              <a:t>Tim Newman</a:t>
            </a:r>
          </a:p>
          <a:p>
            <a:pPr algn="ctr"/>
            <a:r>
              <a:rPr lang="en-US" dirty="0">
                <a:solidFill>
                  <a:schemeClr val="tx1">
                    <a:lumMod val="85000"/>
                    <a:lumOff val="15000"/>
                  </a:schemeClr>
                </a:solidFill>
              </a:rPr>
              <a:t>Esther Ndungu</a:t>
            </a:r>
          </a:p>
          <a:p>
            <a:pPr algn="ctr"/>
            <a:endParaRPr lang="en-US" sz="2000" b="1" kern="0" dirty="0">
              <a:solidFill>
                <a:schemeClr val="tx1">
                  <a:lumMod val="75000"/>
                  <a:lumOff val="25000"/>
                </a:schemeClr>
              </a:solidFill>
              <a:latin typeface="+mj-lt"/>
              <a:cs typeface="Arial" pitchFamily="34" charset="0"/>
            </a:endParaRPr>
          </a:p>
          <a:p>
            <a:pPr algn="ctr"/>
            <a:endParaRPr lang="en-US" sz="2000" b="1" kern="0" dirty="0">
              <a:solidFill>
                <a:schemeClr val="tx1">
                  <a:lumMod val="75000"/>
                  <a:lumOff val="25000"/>
                </a:schemeClr>
              </a:solidFill>
              <a:latin typeface="+mj-lt"/>
              <a:cs typeface="Arial" pitchFamily="34" charset="0"/>
            </a:endParaRPr>
          </a:p>
        </p:txBody>
      </p:sp>
      <p:sp>
        <p:nvSpPr>
          <p:cNvPr id="19" name="TextBox 18">
            <a:extLst>
              <a:ext uri="{FF2B5EF4-FFF2-40B4-BE49-F238E27FC236}">
                <a16:creationId xmlns:a16="http://schemas.microsoft.com/office/drawing/2014/main" id="{15220FA3-AF51-456B-9C47-646C1B832C62}"/>
              </a:ext>
            </a:extLst>
          </p:cNvPr>
          <p:cNvSpPr txBox="1">
            <a:spLocks/>
          </p:cNvSpPr>
          <p:nvPr/>
        </p:nvSpPr>
        <p:spPr>
          <a:xfrm>
            <a:off x="6308764" y="1608089"/>
            <a:ext cx="5883236" cy="1384995"/>
          </a:xfrm>
          <a:prstGeom prst="rect">
            <a:avLst/>
          </a:prstGeom>
          <a:noFill/>
        </p:spPr>
        <p:txBody>
          <a:bodyPr wrap="square" rtlCol="0" anchor="b">
            <a:spAutoFit/>
          </a:bodyPr>
          <a:lstStyle/>
          <a:p>
            <a:pPr algn="ctr"/>
            <a:endParaRPr lang="en-US" sz="2800" b="1" kern="0" dirty="0">
              <a:solidFill>
                <a:schemeClr val="tx1">
                  <a:lumMod val="75000"/>
                  <a:lumOff val="25000"/>
                </a:schemeClr>
              </a:solidFill>
              <a:latin typeface="+mj-lt"/>
              <a:cs typeface="Arial" pitchFamily="34" charset="0"/>
            </a:endParaRPr>
          </a:p>
          <a:p>
            <a:pPr algn="ctr"/>
            <a:r>
              <a:rPr lang="en-US" sz="2800" b="1" kern="0" dirty="0">
                <a:solidFill>
                  <a:schemeClr val="tx1">
                    <a:lumMod val="75000"/>
                    <a:lumOff val="25000"/>
                  </a:schemeClr>
                </a:solidFill>
                <a:latin typeface="+mj-lt"/>
                <a:cs typeface="Arial" pitchFamily="34" charset="0"/>
              </a:rPr>
              <a:t>Country Representative</a:t>
            </a:r>
          </a:p>
          <a:p>
            <a:pPr algn="ctr"/>
            <a:r>
              <a:rPr lang="en-US" sz="2800" b="1" kern="0" dirty="0">
                <a:solidFill>
                  <a:schemeClr val="tx1">
                    <a:lumMod val="75000"/>
                    <a:lumOff val="25000"/>
                  </a:schemeClr>
                </a:solidFill>
                <a:latin typeface="+mj-lt"/>
                <a:cs typeface="Arial" pitchFamily="34" charset="0"/>
              </a:rPr>
              <a:t>Nigeria</a:t>
            </a:r>
          </a:p>
        </p:txBody>
      </p:sp>
      <p:sp>
        <p:nvSpPr>
          <p:cNvPr id="20" name="TextBox 19">
            <a:extLst>
              <a:ext uri="{FF2B5EF4-FFF2-40B4-BE49-F238E27FC236}">
                <a16:creationId xmlns:a16="http://schemas.microsoft.com/office/drawing/2014/main" id="{4C15273D-7B98-41EA-B712-8147D1F50FDA}"/>
              </a:ext>
            </a:extLst>
          </p:cNvPr>
          <p:cNvSpPr txBox="1"/>
          <p:nvPr/>
        </p:nvSpPr>
        <p:spPr>
          <a:xfrm>
            <a:off x="6184900" y="5877917"/>
            <a:ext cx="5918200" cy="553998"/>
          </a:xfrm>
          <a:prstGeom prst="rect">
            <a:avLst/>
          </a:prstGeom>
          <a:noFill/>
        </p:spPr>
        <p:txBody>
          <a:bodyPr wrap="square" rtlCol="0">
            <a:spAutoFit/>
          </a:bodyPr>
          <a:lstStyle/>
          <a:p>
            <a:endParaRPr lang="en-US" sz="1400" kern="0" dirty="0">
              <a:solidFill>
                <a:schemeClr val="tx1">
                  <a:lumMod val="75000"/>
                  <a:lumOff val="25000"/>
                </a:schemeClr>
              </a:solidFill>
              <a:latin typeface="Arial" pitchFamily="34" charset="0"/>
              <a:cs typeface="Arial" pitchFamily="34" charset="0"/>
            </a:endParaRPr>
          </a:p>
          <a:p>
            <a:pPr algn="ctr"/>
            <a:r>
              <a:rPr lang="en-US" sz="1600" b="1" i="1" kern="0" dirty="0">
                <a:solidFill>
                  <a:schemeClr val="tx1">
                    <a:lumMod val="50000"/>
                    <a:lumOff val="50000"/>
                  </a:schemeClr>
                </a:solidFill>
                <a:cs typeface="Arial" pitchFamily="34" charset="0"/>
              </a:rPr>
              <a:t>on 06/05/2020</a:t>
            </a:r>
          </a:p>
        </p:txBody>
      </p:sp>
      <p:sp>
        <p:nvSpPr>
          <p:cNvPr id="11" name="Rectangle 10">
            <a:extLst>
              <a:ext uri="{FF2B5EF4-FFF2-40B4-BE49-F238E27FC236}">
                <a16:creationId xmlns:a16="http://schemas.microsoft.com/office/drawing/2014/main" id="{A61E6E93-563B-4945-AB45-072198C2EC0F}"/>
              </a:ext>
            </a:extLst>
          </p:cNvPr>
          <p:cNvSpPr/>
          <p:nvPr/>
        </p:nvSpPr>
        <p:spPr>
          <a:xfrm>
            <a:off x="982100" y="692696"/>
            <a:ext cx="576214" cy="57606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chemeClr val="tx1"/>
                </a:solidFill>
                <a:latin typeface="Arial" panose="020B0604020202020204" pitchFamily="34" charset="0"/>
                <a:cs typeface="Arial" panose="020B0604020202020204" pitchFamily="34" charset="0"/>
              </a:rPr>
              <a:t>P</a:t>
            </a:r>
          </a:p>
        </p:txBody>
      </p:sp>
      <p:pic>
        <p:nvPicPr>
          <p:cNvPr id="12" name="Picture 11"/>
          <p:cNvPicPr/>
          <p:nvPr/>
        </p:nvPicPr>
        <p:blipFill>
          <a:blip r:embed="rId4">
            <a:extLst>
              <a:ext uri="{28A0092B-C50C-407E-A947-70E740481C1C}">
                <a14:useLocalDpi xmlns:a14="http://schemas.microsoft.com/office/drawing/2010/main" val="0"/>
              </a:ext>
            </a:extLst>
          </a:blip>
          <a:srcRect/>
          <a:stretch>
            <a:fillRect/>
          </a:stretch>
        </p:blipFill>
        <p:spPr bwMode="auto">
          <a:xfrm>
            <a:off x="0" y="723900"/>
            <a:ext cx="6070600" cy="6007100"/>
          </a:xfrm>
          <a:prstGeom prst="rect">
            <a:avLst/>
          </a:prstGeom>
          <a:noFill/>
          <a:ln>
            <a:noFill/>
          </a:ln>
        </p:spPr>
      </p:pic>
      <p:pic>
        <p:nvPicPr>
          <p:cNvPr id="13" name="Picture 12" descr="VSO logo_RGB_black_small (002)"/>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8382000" y="749300"/>
            <a:ext cx="1473199" cy="1130300"/>
          </a:xfrm>
          <a:prstGeom prst="rect">
            <a:avLst/>
          </a:prstGeom>
          <a:noFill/>
          <a:ln>
            <a:noFill/>
          </a:ln>
        </p:spPr>
      </p:pic>
    </p:spTree>
    <p:extLst>
      <p:ext uri="{BB962C8B-B14F-4D97-AF65-F5344CB8AC3E}">
        <p14:creationId xmlns:p14="http://schemas.microsoft.com/office/powerpoint/2010/main" val="4046854364"/>
      </p:ext>
    </p:extLst>
  </p:cSld>
  <p:clrMapOvr>
    <a:masterClrMapping/>
  </p:clrMapOvr>
  <mc:AlternateContent xmlns:mc="http://schemas.openxmlformats.org/markup-compatibility/2006" xmlns:p14="http://schemas.microsoft.com/office/powerpoint/2010/main">
    <mc:Choice Requires="p14">
      <p:transition spd="slow" p14:dur="1200" advClick="0">
        <p14:prism/>
      </p:transition>
    </mc:Choice>
    <mc:Fallback xmlns="">
      <p:transition spd="slow"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9900" y="596900"/>
            <a:ext cx="11140909" cy="1270000"/>
          </a:xfrm>
        </p:spPr>
        <p:txBody>
          <a:bodyPr/>
          <a:lstStyle/>
          <a:p>
            <a:r>
              <a:rPr lang="en-US" dirty="0">
                <a:solidFill>
                  <a:srgbClr val="FFFFFF"/>
                </a:solidFill>
              </a:rPr>
              <a:t>A case for A Disaster relief program </a:t>
            </a:r>
            <a:br>
              <a:rPr lang="en-US" dirty="0">
                <a:solidFill>
                  <a:srgbClr val="FFFFFF"/>
                </a:solidFill>
              </a:rPr>
            </a:br>
            <a:endParaRPr lang="en-US" dirty="0">
              <a:solidFill>
                <a:srgbClr val="FFFFFF"/>
              </a:solidFill>
            </a:endParaRPr>
          </a:p>
        </p:txBody>
      </p:sp>
      <p:graphicFrame>
        <p:nvGraphicFramePr>
          <p:cNvPr id="6" name="Content Placeholder 5"/>
          <p:cNvGraphicFramePr>
            <a:graphicFrameLocks noGrp="1"/>
          </p:cNvGraphicFramePr>
          <p:nvPr>
            <p:ph sz="half" idx="1"/>
            <p:extLst>
              <p:ext uri="{D42A27DB-BD31-4B8C-83A1-F6EECF244321}">
                <p14:modId xmlns:p14="http://schemas.microsoft.com/office/powerpoint/2010/main" val="3661017788"/>
              </p:ext>
            </p:extLst>
          </p:nvPr>
        </p:nvGraphicFramePr>
        <p:xfrm>
          <a:off x="581025" y="2227263"/>
          <a:ext cx="5422900" cy="36337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11"/>
          <p:cNvSpPr>
            <a:spLocks noGrp="1"/>
          </p:cNvSpPr>
          <p:nvPr>
            <p:ph sz="half" idx="2"/>
          </p:nvPr>
        </p:nvSpPr>
        <p:spPr>
          <a:xfrm>
            <a:off x="5359400" y="1879600"/>
            <a:ext cx="6502400" cy="4698999"/>
          </a:xfrm>
        </p:spPr>
        <p:txBody>
          <a:bodyPr anchor="t">
            <a:normAutofit lnSpcReduction="10000"/>
          </a:bodyPr>
          <a:lstStyle/>
          <a:p>
            <a:r>
              <a:rPr lang="en-US" dirty="0">
                <a:solidFill>
                  <a:srgbClr val="050505"/>
                </a:solidFill>
                <a:latin typeface="Gill Sans"/>
                <a:ea typeface="ＭＳ 明朝"/>
              </a:rPr>
              <a:t>UN agencies can be a key source of funds during emergencies, particularly UN partners of WFP, UNHCR and UNICEF, with whom NGOs often work as implementing partners. </a:t>
            </a:r>
          </a:p>
          <a:p>
            <a:r>
              <a:rPr lang="en-US" dirty="0"/>
              <a:t>There are three key UN funding mechanisms that apply in emergencies, although experience shows they are currently not necessarily easy for NGOs to access, and can be very slow:</a:t>
            </a:r>
          </a:p>
          <a:p>
            <a:pPr lvl="0"/>
            <a:r>
              <a:rPr lang="en-US" dirty="0"/>
              <a:t>Central Emergency Response Fund (CERF) is available to UN agencies to support humanitarian response. NGOs cannot access funding directly but can be engaged as implementing partners of the UN agencies receiving CERF funding.</a:t>
            </a:r>
          </a:p>
          <a:p>
            <a:pPr lvl="0"/>
            <a:r>
              <a:rPr lang="en-US" dirty="0"/>
              <a:t>Emergency Response Funds (ERF) are funds made available to NGOs through OCHA to address critical gaps in humanitarian assistance. Management of ERFs varies from country to country.</a:t>
            </a:r>
          </a:p>
          <a:p>
            <a:r>
              <a:rPr lang="en-US" dirty="0"/>
              <a:t>Pooled/Common Humanitarian Funds (CHF) are funds given by donors, that are not earmarked for any specific purpose and can be used flexibly. Responsibility for allocating </a:t>
            </a:r>
          </a:p>
        </p:txBody>
      </p:sp>
      <p:sp>
        <p:nvSpPr>
          <p:cNvPr id="5" name="Slide Number Placeholder 4"/>
          <p:cNvSpPr>
            <a:spLocks noGrp="1"/>
          </p:cNvSpPr>
          <p:nvPr>
            <p:ph type="sldNum" sz="quarter" idx="12"/>
          </p:nvPr>
        </p:nvSpPr>
        <p:spPr/>
        <p:txBody>
          <a:bodyPr/>
          <a:lstStyle/>
          <a:p>
            <a:fld id="{D57F1E4F-1CFF-5643-939E-217C01CDF565}" type="slidenum">
              <a:rPr lang="en-US" smtClean="0"/>
              <a:pPr/>
              <a:t>10</a:t>
            </a:fld>
            <a:endParaRPr lang="en-US" dirty="0"/>
          </a:p>
        </p:txBody>
      </p:sp>
      <p:sp>
        <p:nvSpPr>
          <p:cNvPr id="8" name="Footer Placeholder 3"/>
          <p:cNvSpPr txBox="1">
            <a:spLocks/>
          </p:cNvSpPr>
          <p:nvPr/>
        </p:nvSpPr>
        <p:spPr>
          <a:xfrm>
            <a:off x="482600" y="-88900"/>
            <a:ext cx="7162800" cy="673100"/>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400" dirty="0">
              <a:solidFill>
                <a:srgbClr val="FF0000"/>
              </a:solidFill>
              <a:latin typeface="+mj-lt"/>
            </a:endParaRPr>
          </a:p>
        </p:txBody>
      </p:sp>
      <p:graphicFrame>
        <p:nvGraphicFramePr>
          <p:cNvPr id="2" name="Diagram 1"/>
          <p:cNvGraphicFramePr/>
          <p:nvPr>
            <p:extLst>
              <p:ext uri="{D42A27DB-BD31-4B8C-83A1-F6EECF244321}">
                <p14:modId xmlns:p14="http://schemas.microsoft.com/office/powerpoint/2010/main" val="467391360"/>
              </p:ext>
            </p:extLst>
          </p:nvPr>
        </p:nvGraphicFramePr>
        <p:xfrm>
          <a:off x="241300" y="1955800"/>
          <a:ext cx="5105400" cy="47625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Footer Placeholder 4"/>
          <p:cNvSpPr txBox="1">
            <a:spLocks/>
          </p:cNvSpPr>
          <p:nvPr/>
        </p:nvSpPr>
        <p:spPr>
          <a:xfrm>
            <a:off x="355600" y="815975"/>
            <a:ext cx="4749800" cy="466725"/>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dirty="0"/>
              <a:t> </a:t>
            </a:r>
            <a:endParaRPr lang="en-US" sz="1800" dirty="0">
              <a:solidFill>
                <a:schemeClr val="tx1"/>
              </a:solidFill>
            </a:endParaRPr>
          </a:p>
        </p:txBody>
      </p:sp>
      <p:sp>
        <p:nvSpPr>
          <p:cNvPr id="10" name="Footer Placeholder 1"/>
          <p:cNvSpPr txBox="1">
            <a:spLocks/>
          </p:cNvSpPr>
          <p:nvPr/>
        </p:nvSpPr>
        <p:spPr>
          <a:xfrm>
            <a:off x="466892" y="6565900"/>
            <a:ext cx="3279608" cy="292100"/>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SARAH KAYONGO_ VSO_06052020</a:t>
            </a:r>
          </a:p>
        </p:txBody>
      </p:sp>
      <p:sp>
        <p:nvSpPr>
          <p:cNvPr id="11" name="Rectangle 10"/>
          <p:cNvSpPr/>
          <p:nvPr/>
        </p:nvSpPr>
        <p:spPr>
          <a:xfrm>
            <a:off x="10240908" y="622300"/>
            <a:ext cx="1184384" cy="1207840"/>
          </a:xfrm>
          <a:prstGeom prst="rect">
            <a:avLst/>
          </a:prstGeom>
          <a:blipFill rotWithShape="1">
            <a:blip r:embed="rId12"/>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spTree>
    <p:extLst>
      <p:ext uri="{BB962C8B-B14F-4D97-AF65-F5344CB8AC3E}">
        <p14:creationId xmlns:p14="http://schemas.microsoft.com/office/powerpoint/2010/main" val="1277448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66892" y="6492875"/>
            <a:ext cx="3279608" cy="365125"/>
          </a:xfrm>
        </p:spPr>
        <p:txBody>
          <a:bodyPr/>
          <a:lstStyle/>
          <a:p>
            <a:r>
              <a:rPr lang="en-US" dirty="0"/>
              <a:t>SARAH KAYONGO_ VSO_06052020</a:t>
            </a:r>
          </a:p>
        </p:txBody>
      </p:sp>
      <p:sp>
        <p:nvSpPr>
          <p:cNvPr id="3" name="Slide Number Placeholder 2"/>
          <p:cNvSpPr>
            <a:spLocks noGrp="1"/>
          </p:cNvSpPr>
          <p:nvPr>
            <p:ph type="sldNum" sz="quarter" idx="12"/>
          </p:nvPr>
        </p:nvSpPr>
        <p:spPr/>
        <p:txBody>
          <a:bodyPr/>
          <a:lstStyle/>
          <a:p>
            <a:fld id="{D57F1E4F-1CFF-5643-939E-217C01CDF565}" type="slidenum">
              <a:rPr lang="en-US" smtClean="0"/>
              <a:pPr/>
              <a:t>11</a:t>
            </a:fld>
            <a:endParaRPr lang="en-US" dirty="0"/>
          </a:p>
        </p:txBody>
      </p:sp>
      <p:sp>
        <p:nvSpPr>
          <p:cNvPr id="4" name="Title 3"/>
          <p:cNvSpPr>
            <a:spLocks noGrp="1"/>
          </p:cNvSpPr>
          <p:nvPr>
            <p:ph type="title"/>
          </p:nvPr>
        </p:nvSpPr>
        <p:spPr/>
        <p:txBody>
          <a:bodyPr/>
          <a:lstStyle/>
          <a:p>
            <a:r>
              <a:rPr lang="en-US" dirty="0"/>
              <a:t>Useful resources for Disaster relief funding </a:t>
            </a:r>
            <a:br>
              <a:rPr lang="en-US" dirty="0"/>
            </a:br>
            <a:r>
              <a:rPr lang="en-US" i="1" dirty="0"/>
              <a:t>“Nigeria/UN COVID-19 BASKET FUND</a:t>
            </a:r>
            <a:r>
              <a:rPr lang="en-US" dirty="0"/>
              <a:t>”</a:t>
            </a:r>
          </a:p>
        </p:txBody>
      </p:sp>
      <p:sp>
        <p:nvSpPr>
          <p:cNvPr id="6" name="Rounded Rectangular Callout 5"/>
          <p:cNvSpPr/>
          <p:nvPr/>
        </p:nvSpPr>
        <p:spPr>
          <a:xfrm>
            <a:off x="6515100" y="2209800"/>
            <a:ext cx="5207000" cy="1828800"/>
          </a:xfrm>
          <a:prstGeom prst="wedgeRoundRectCallout">
            <a:avLst/>
          </a:prstGeom>
        </p:spPr>
        <p:style>
          <a:lnRef idx="2">
            <a:schemeClr val="accent3"/>
          </a:lnRef>
          <a:fillRef idx="1">
            <a:schemeClr val="lt1"/>
          </a:fillRef>
          <a:effectRef idx="0">
            <a:schemeClr val="accent3"/>
          </a:effectRef>
          <a:fontRef idx="minor">
            <a:schemeClr val="dk1"/>
          </a:fontRef>
        </p:style>
        <p:txBody>
          <a:bodyPr rtlCol="0" anchor="ctr"/>
          <a:lstStyle/>
          <a:p>
            <a:r>
              <a:rPr lang="en-US" dirty="0"/>
              <a:t>April 30, 2020</a:t>
            </a:r>
          </a:p>
          <a:p>
            <a:r>
              <a:rPr lang="en-US" dirty="0"/>
              <a:t>“</a:t>
            </a:r>
            <a:r>
              <a:rPr lang="en-US" i="1" dirty="0"/>
              <a:t>U.K. pledges £1.65B to Gavi for the next 5 years</a:t>
            </a:r>
          </a:p>
          <a:p>
            <a:r>
              <a:rPr lang="en-US" i="1" dirty="0"/>
              <a:t>“The United Kingdom has pledged to donate the equivalent of £330 million ($410 million) a year to Gavi, the Vaccine Alliance, for the next five years.</a:t>
            </a:r>
            <a:r>
              <a:rPr lang="en-US" dirty="0"/>
              <a:t>” </a:t>
            </a:r>
          </a:p>
          <a:p>
            <a:r>
              <a:rPr lang="en-US" i="1" dirty="0"/>
              <a:t>Source: Global Health Report</a:t>
            </a:r>
          </a:p>
        </p:txBody>
      </p:sp>
      <p:sp>
        <p:nvSpPr>
          <p:cNvPr id="7" name="Rounded Rectangular Callout 6"/>
          <p:cNvSpPr/>
          <p:nvPr/>
        </p:nvSpPr>
        <p:spPr>
          <a:xfrm>
            <a:off x="3530600" y="4559300"/>
            <a:ext cx="4953000" cy="1828800"/>
          </a:xfrm>
          <a:prstGeom prst="wedgeRoundRectCallou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May 7, 2020</a:t>
            </a:r>
          </a:p>
          <a:p>
            <a:r>
              <a:rPr lang="en-US" dirty="0"/>
              <a:t>“</a:t>
            </a:r>
            <a:r>
              <a:rPr lang="en-US" i="1" dirty="0"/>
              <a:t>The Aliko Dangote Foundation (ADF) has donated N1.5 billion ($3.8 million) to the ‘Nigeria/United Nations COVID-19 Basket Fund’ to boost the fight against the novel coronavirus disease</a:t>
            </a:r>
            <a:r>
              <a:rPr lang="en-US" dirty="0"/>
              <a:t>.”</a:t>
            </a:r>
          </a:p>
          <a:p>
            <a:r>
              <a:rPr lang="en-US" dirty="0"/>
              <a:t> https://www.today.ng/news/Nigeria/aliko-dangote</a:t>
            </a:r>
          </a:p>
        </p:txBody>
      </p:sp>
      <p:sp>
        <p:nvSpPr>
          <p:cNvPr id="8" name="Rounded Rectangular Callout 7"/>
          <p:cNvSpPr/>
          <p:nvPr/>
        </p:nvSpPr>
        <p:spPr>
          <a:xfrm>
            <a:off x="647700" y="2286000"/>
            <a:ext cx="5435600" cy="1905000"/>
          </a:xfrm>
          <a:prstGeom prst="wedgeRoundRectCallout">
            <a:avLst/>
          </a:prstGeom>
        </p:spPr>
        <p:style>
          <a:lnRef idx="2">
            <a:schemeClr val="accent4"/>
          </a:lnRef>
          <a:fillRef idx="1">
            <a:schemeClr val="lt1"/>
          </a:fillRef>
          <a:effectRef idx="0">
            <a:schemeClr val="accent4"/>
          </a:effectRef>
          <a:fontRef idx="minor">
            <a:schemeClr val="dk1"/>
          </a:fontRef>
        </p:style>
        <p:txBody>
          <a:bodyPr rtlCol="0" anchor="ctr"/>
          <a:lstStyle/>
          <a:p>
            <a:r>
              <a:rPr lang="en-US" dirty="0"/>
              <a:t>March 26, 2020</a:t>
            </a:r>
          </a:p>
          <a:p>
            <a:r>
              <a:rPr lang="en-US" dirty="0"/>
              <a:t>"</a:t>
            </a:r>
            <a:r>
              <a:rPr lang="en-US" i="1" dirty="0"/>
              <a:t>Today, I am pleased to announce that the United States has made available nearly $274 million in emergency health and humanitarian funding,” U.S. Secretary of State Mike Pompeo said Thursday in a statement.”</a:t>
            </a:r>
          </a:p>
          <a:p>
            <a:r>
              <a:rPr lang="en-US" dirty="0"/>
              <a:t>https://www.voanews.com/usa/us-pledges</a:t>
            </a:r>
          </a:p>
        </p:txBody>
      </p:sp>
    </p:spTree>
    <p:extLst>
      <p:ext uri="{BB962C8B-B14F-4D97-AF65-F5344CB8AC3E}">
        <p14:creationId xmlns:p14="http://schemas.microsoft.com/office/powerpoint/2010/main" val="3977062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9901" y="584201"/>
            <a:ext cx="11191708" cy="2374899"/>
          </a:xfrm>
        </p:spPr>
        <p:txBody>
          <a:bodyPr anchor="ct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smtClean="0"/>
              <a:pPr/>
              <a:t>12</a:t>
            </a:fld>
            <a:endParaRPr lang="en-US" dirty="0"/>
          </a:p>
        </p:txBody>
      </p:sp>
      <p:graphicFrame>
        <p:nvGraphicFramePr>
          <p:cNvPr id="10" name="Content Placeholder 2">
            <a:extLst>
              <a:ext uri="{FF2B5EF4-FFF2-40B4-BE49-F238E27FC236}">
                <a16:creationId xmlns:a16="http://schemas.microsoft.com/office/drawing/2014/main" id="{263F1511-2A42-46CA-9F17-D765EFC935A8}"/>
              </a:ext>
            </a:extLst>
          </p:cNvPr>
          <p:cNvGraphicFramePr>
            <a:graphicFrameLocks/>
          </p:cNvGraphicFramePr>
          <p:nvPr>
            <p:extLst>
              <p:ext uri="{D42A27DB-BD31-4B8C-83A1-F6EECF244321}">
                <p14:modId xmlns:p14="http://schemas.microsoft.com/office/powerpoint/2010/main" val="679736381"/>
              </p:ext>
            </p:extLst>
          </p:nvPr>
        </p:nvGraphicFramePr>
        <p:xfrm>
          <a:off x="1085012" y="3165475"/>
          <a:ext cx="9951287" cy="2025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1079500" y="5481935"/>
            <a:ext cx="10160000" cy="64633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dirty="0"/>
              <a:t>What specific actions will you take to secure new programme opportunities and scale VSO’s programme portfolio?</a:t>
            </a:r>
            <a:endParaRPr lang="en-US" dirty="0"/>
          </a:p>
        </p:txBody>
      </p:sp>
      <p:sp>
        <p:nvSpPr>
          <p:cNvPr id="9" name="Footer Placeholder 1"/>
          <p:cNvSpPr>
            <a:spLocks noGrp="1"/>
          </p:cNvSpPr>
          <p:nvPr>
            <p:ph type="ftr" sz="quarter" idx="11"/>
          </p:nvPr>
        </p:nvSpPr>
        <p:spPr>
          <a:xfrm>
            <a:off x="466892" y="6492875"/>
            <a:ext cx="3279608" cy="365125"/>
          </a:xfrm>
        </p:spPr>
        <p:txBody>
          <a:bodyPr/>
          <a:lstStyle/>
          <a:p>
            <a:r>
              <a:rPr lang="en-US" dirty="0"/>
              <a:t>SARAH KAYONGO_ VSO_06052020</a:t>
            </a:r>
          </a:p>
        </p:txBody>
      </p:sp>
      <p:sp>
        <p:nvSpPr>
          <p:cNvPr id="11" name="Frame 10"/>
          <p:cNvSpPr/>
          <p:nvPr/>
        </p:nvSpPr>
        <p:spPr>
          <a:xfrm>
            <a:off x="3771900" y="584200"/>
            <a:ext cx="4749800" cy="1524000"/>
          </a:xfrm>
          <a:prstGeom prst="fram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p:nvSpPr>
        <p:spPr>
          <a:xfrm>
            <a:off x="4127500" y="971034"/>
            <a:ext cx="4051300" cy="646331"/>
          </a:xfrm>
          <a:prstGeom prst="rect">
            <a:avLst/>
          </a:prstGeom>
        </p:spPr>
        <p:txBody>
          <a:bodyPr wrap="square" anchor="ctr">
            <a:spAutoFit/>
          </a:bodyPr>
          <a:lstStyle/>
          <a:p>
            <a:pPr algn="ctr"/>
            <a:r>
              <a:rPr lang="en-US" sz="3600" dirty="0"/>
              <a:t>QUESTION 3</a:t>
            </a:r>
          </a:p>
        </p:txBody>
      </p:sp>
    </p:spTree>
    <p:extLst>
      <p:ext uri="{BB962C8B-B14F-4D97-AF65-F5344CB8AC3E}">
        <p14:creationId xmlns:p14="http://schemas.microsoft.com/office/powerpoint/2010/main" val="29795954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C92A239-0F40-B640-AD6F-7AF193E08218}"/>
              </a:ext>
            </a:extLst>
          </p:cNvPr>
          <p:cNvGrpSpPr/>
          <p:nvPr/>
        </p:nvGrpSpPr>
        <p:grpSpPr>
          <a:xfrm>
            <a:off x="355600" y="716127"/>
            <a:ext cx="11557000" cy="6669689"/>
            <a:chOff x="162460" y="460816"/>
            <a:chExt cx="11557000" cy="6531685"/>
          </a:xfrm>
        </p:grpSpPr>
        <p:sp>
          <p:nvSpPr>
            <p:cNvPr id="22" name="Down Arrow 21">
              <a:extLst>
                <a:ext uri="{FF2B5EF4-FFF2-40B4-BE49-F238E27FC236}">
                  <a16:creationId xmlns:a16="http://schemas.microsoft.com/office/drawing/2014/main" id="{4419FE33-2F21-7345-BD74-927BBAA5CCD8}"/>
                </a:ext>
              </a:extLst>
            </p:cNvPr>
            <p:cNvSpPr/>
            <p:nvPr/>
          </p:nvSpPr>
          <p:spPr>
            <a:xfrm rot="16200000">
              <a:off x="2372206" y="1233839"/>
              <a:ext cx="292993" cy="6405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09B3F556-3A9C-CB4B-892C-BA48270B7635}"/>
                </a:ext>
              </a:extLst>
            </p:cNvPr>
            <p:cNvGrpSpPr/>
            <p:nvPr/>
          </p:nvGrpSpPr>
          <p:grpSpPr>
            <a:xfrm>
              <a:off x="2677060" y="473516"/>
              <a:ext cx="3398342" cy="5974628"/>
              <a:chOff x="3428290" y="474285"/>
              <a:chExt cx="3398342" cy="5974628"/>
            </a:xfrm>
          </p:grpSpPr>
          <p:sp>
            <p:nvSpPr>
              <p:cNvPr id="7" name="TextBox 6">
                <a:extLst>
                  <a:ext uri="{FF2B5EF4-FFF2-40B4-BE49-F238E27FC236}">
                    <a16:creationId xmlns:a16="http://schemas.microsoft.com/office/drawing/2014/main" id="{A3EC249B-8102-9E4D-9275-EA25DC95F09B}"/>
                  </a:ext>
                </a:extLst>
              </p:cNvPr>
              <p:cNvSpPr txBox="1"/>
              <p:nvPr/>
            </p:nvSpPr>
            <p:spPr>
              <a:xfrm>
                <a:off x="3834690" y="1061474"/>
                <a:ext cx="2070100" cy="1200329"/>
              </a:xfrm>
              <a:prstGeom prst="rect">
                <a:avLst/>
              </a:prstGeom>
              <a:noFill/>
            </p:spPr>
            <p:txBody>
              <a:bodyPr wrap="square" rtlCol="0">
                <a:spAutoFit/>
              </a:bodyPr>
              <a:lstStyle/>
              <a:p>
                <a:pPr lvl="0"/>
                <a:r>
                  <a:rPr lang="en-US" dirty="0"/>
                  <a:t>Public Private Partnerships: NGOs Government, State and Federal levels</a:t>
                </a:r>
              </a:p>
            </p:txBody>
          </p:sp>
          <p:sp>
            <p:nvSpPr>
              <p:cNvPr id="13" name="Down Arrow 12">
                <a:extLst>
                  <a:ext uri="{FF2B5EF4-FFF2-40B4-BE49-F238E27FC236}">
                    <a16:creationId xmlns:a16="http://schemas.microsoft.com/office/drawing/2014/main" id="{271411C6-3FFC-E548-A0A4-D0FA1FC349B3}"/>
                  </a:ext>
                </a:extLst>
              </p:cNvPr>
              <p:cNvSpPr/>
              <p:nvPr/>
            </p:nvSpPr>
            <p:spPr>
              <a:xfrm rot="16200000">
                <a:off x="6372969" y="1260402"/>
                <a:ext cx="266807" cy="6405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DC27E77E-C64D-C649-998C-13BBF4136452}"/>
                  </a:ext>
                </a:extLst>
              </p:cNvPr>
              <p:cNvSpPr txBox="1"/>
              <p:nvPr/>
            </p:nvSpPr>
            <p:spPr>
              <a:xfrm>
                <a:off x="3656890" y="474285"/>
                <a:ext cx="2540710" cy="369332"/>
              </a:xfrm>
              <a:prstGeom prst="rect">
                <a:avLst/>
              </a:prstGeom>
              <a:noFill/>
            </p:spPr>
            <p:txBody>
              <a:bodyPr wrap="square" rtlCol="0">
                <a:spAutoFit/>
              </a:bodyPr>
              <a:lstStyle/>
              <a:p>
                <a:r>
                  <a:rPr lang="en-US" dirty="0"/>
                  <a:t>Approach II </a:t>
                </a:r>
              </a:p>
            </p:txBody>
          </p:sp>
          <p:sp>
            <p:nvSpPr>
              <p:cNvPr id="23" name="TextBox 22">
                <a:extLst>
                  <a:ext uri="{FF2B5EF4-FFF2-40B4-BE49-F238E27FC236}">
                    <a16:creationId xmlns:a16="http://schemas.microsoft.com/office/drawing/2014/main" id="{857E8BAF-FAAF-0742-9AC3-5BD1B73C9082}"/>
                  </a:ext>
                </a:extLst>
              </p:cNvPr>
              <p:cNvSpPr txBox="1"/>
              <p:nvPr/>
            </p:nvSpPr>
            <p:spPr>
              <a:xfrm>
                <a:off x="3428290" y="2560746"/>
                <a:ext cx="2984500" cy="3888167"/>
              </a:xfrm>
              <a:prstGeom prst="rect">
                <a:avLst/>
              </a:prstGeom>
              <a:noFill/>
            </p:spPr>
            <p:txBody>
              <a:bodyPr wrap="square" rtlCol="0">
                <a:spAutoFit/>
              </a:bodyPr>
              <a:lstStyle/>
              <a:p>
                <a:pPr marL="285750" indent="-285750">
                  <a:buFont typeface="Arial"/>
                  <a:buChar char="•"/>
                </a:pPr>
                <a:r>
                  <a:rPr lang="en-US" dirty="0">
                    <a:cs typeface="Times New Roman"/>
                  </a:rPr>
                  <a:t>Leverage the capacity to strengthen health systems at state &amp; govt. levels.</a:t>
                </a:r>
              </a:p>
              <a:p>
                <a:pPr marL="285750" indent="-285750">
                  <a:buFont typeface="Arial"/>
                  <a:buChar char="•"/>
                </a:pPr>
                <a:r>
                  <a:rPr lang="en-US" dirty="0">
                    <a:cs typeface="Times New Roman"/>
                  </a:rPr>
                  <a:t>Push reform agenda &amp; PPPs for inclusive education e.g</a:t>
                </a:r>
                <a:r>
                  <a:rPr lang="en-US" b="1" dirty="0">
                    <a:cs typeface="Times New Roman"/>
                  </a:rPr>
                  <a:t>. *(</a:t>
                </a:r>
                <a:r>
                  <a:rPr lang="en-US" b="1" i="1" dirty="0">
                    <a:cs typeface="Times New Roman"/>
                  </a:rPr>
                  <a:t>radio education </a:t>
                </a:r>
                <a:r>
                  <a:rPr lang="en-US" b="1" dirty="0">
                    <a:cs typeface="Times New Roman"/>
                  </a:rPr>
                  <a:t>&amp; </a:t>
                </a:r>
                <a:r>
                  <a:rPr lang="en-US" b="1" i="1" dirty="0">
                    <a:cs typeface="Times New Roman"/>
                  </a:rPr>
                  <a:t>“Unlocking talent”).</a:t>
                </a:r>
              </a:p>
              <a:p>
                <a:pPr marL="285750" indent="-285750">
                  <a:buFont typeface="Arial"/>
                  <a:buChar char="•"/>
                </a:pPr>
                <a:r>
                  <a:rPr lang="en-US" dirty="0">
                    <a:cs typeface="Times New Roman"/>
                  </a:rPr>
                  <a:t>NGO joint proposal partnerships for disaster relief, education, health &amp; other programs.</a:t>
                </a:r>
              </a:p>
              <a:p>
                <a:pPr lvl="0"/>
                <a:endParaRPr lang="en-US" dirty="0"/>
              </a:p>
              <a:p>
                <a:endParaRPr lang="en-US" dirty="0"/>
              </a:p>
            </p:txBody>
          </p:sp>
        </p:grpSp>
        <p:grpSp>
          <p:nvGrpSpPr>
            <p:cNvPr id="26" name="Group 25">
              <a:extLst>
                <a:ext uri="{FF2B5EF4-FFF2-40B4-BE49-F238E27FC236}">
                  <a16:creationId xmlns:a16="http://schemas.microsoft.com/office/drawing/2014/main" id="{F179B915-6596-0A44-AE8E-1B1EEE200946}"/>
                </a:ext>
              </a:extLst>
            </p:cNvPr>
            <p:cNvGrpSpPr/>
            <p:nvPr/>
          </p:nvGrpSpPr>
          <p:grpSpPr>
            <a:xfrm>
              <a:off x="162460" y="963889"/>
              <a:ext cx="2192402" cy="2304115"/>
              <a:chOff x="583708" y="964658"/>
              <a:chExt cx="2192402" cy="2304115"/>
            </a:xfrm>
          </p:grpSpPr>
          <p:sp>
            <p:nvSpPr>
              <p:cNvPr id="5" name="TextBox 4">
                <a:extLst>
                  <a:ext uri="{FF2B5EF4-FFF2-40B4-BE49-F238E27FC236}">
                    <a16:creationId xmlns:a16="http://schemas.microsoft.com/office/drawing/2014/main" id="{352BD008-138D-1448-8F0C-1FF015DF1BA6}"/>
                  </a:ext>
                </a:extLst>
              </p:cNvPr>
              <p:cNvSpPr txBox="1"/>
              <p:nvPr/>
            </p:nvSpPr>
            <p:spPr>
              <a:xfrm>
                <a:off x="583708" y="1026199"/>
                <a:ext cx="1905000" cy="1175493"/>
              </a:xfrm>
              <a:prstGeom prst="rect">
                <a:avLst/>
              </a:prstGeom>
              <a:noFill/>
            </p:spPr>
            <p:txBody>
              <a:bodyPr wrap="square" rtlCol="0">
                <a:spAutoFit/>
              </a:bodyPr>
              <a:lstStyle/>
              <a:p>
                <a:pPr lvl="0"/>
                <a:r>
                  <a:rPr lang="en-US" dirty="0"/>
                  <a:t>Proposal writing  &amp; reporting on </a:t>
                </a:r>
              </a:p>
              <a:p>
                <a:pPr lvl="0"/>
                <a:r>
                  <a:rPr lang="en-US" dirty="0"/>
                  <a:t>Existing one &amp; new pipeline</a:t>
                </a:r>
              </a:p>
            </p:txBody>
          </p:sp>
          <p:sp>
            <p:nvSpPr>
              <p:cNvPr id="11" name="Rectangle 10">
                <a:extLst>
                  <a:ext uri="{FF2B5EF4-FFF2-40B4-BE49-F238E27FC236}">
                    <a16:creationId xmlns:a16="http://schemas.microsoft.com/office/drawing/2014/main" id="{F8832607-9627-9D47-869A-16AA182222FF}"/>
                  </a:ext>
                </a:extLst>
              </p:cNvPr>
              <p:cNvSpPr/>
              <p:nvPr/>
            </p:nvSpPr>
            <p:spPr>
              <a:xfrm>
                <a:off x="609108" y="964658"/>
                <a:ext cx="1892300" cy="12319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67DA92B6-CB56-A24F-A753-4410A9F6A09A}"/>
                  </a:ext>
                </a:extLst>
              </p:cNvPr>
              <p:cNvSpPr txBox="1"/>
              <p:nvPr/>
            </p:nvSpPr>
            <p:spPr>
              <a:xfrm>
                <a:off x="653420" y="2899441"/>
                <a:ext cx="2122690" cy="369332"/>
              </a:xfrm>
              <a:prstGeom prst="rect">
                <a:avLst/>
              </a:prstGeom>
              <a:noFill/>
            </p:spPr>
            <p:txBody>
              <a:bodyPr wrap="square" rtlCol="0">
                <a:spAutoFit/>
              </a:bodyPr>
              <a:lstStyle/>
              <a:p>
                <a:r>
                  <a:rPr lang="en-US" dirty="0"/>
                  <a:t>  </a:t>
                </a:r>
              </a:p>
            </p:txBody>
          </p:sp>
        </p:grpSp>
        <p:grpSp>
          <p:nvGrpSpPr>
            <p:cNvPr id="35" name="Group 34">
              <a:extLst>
                <a:ext uri="{FF2B5EF4-FFF2-40B4-BE49-F238E27FC236}">
                  <a16:creationId xmlns:a16="http://schemas.microsoft.com/office/drawing/2014/main" id="{0CDDFDE0-4E8F-1846-9644-D97C7ABCC060}"/>
                </a:ext>
              </a:extLst>
            </p:cNvPr>
            <p:cNvGrpSpPr/>
            <p:nvPr/>
          </p:nvGrpSpPr>
          <p:grpSpPr>
            <a:xfrm>
              <a:off x="5686960" y="460816"/>
              <a:ext cx="3098801" cy="6531685"/>
              <a:chOff x="6603901" y="460816"/>
              <a:chExt cx="3098801" cy="6531685"/>
            </a:xfrm>
          </p:grpSpPr>
          <p:sp>
            <p:nvSpPr>
              <p:cNvPr id="15" name="Rectangle 14">
                <a:extLst>
                  <a:ext uri="{FF2B5EF4-FFF2-40B4-BE49-F238E27FC236}">
                    <a16:creationId xmlns:a16="http://schemas.microsoft.com/office/drawing/2014/main" id="{34945AF0-904D-3944-A4A4-1AC5BB1D39BD}"/>
                  </a:ext>
                </a:extLst>
              </p:cNvPr>
              <p:cNvSpPr/>
              <p:nvPr/>
            </p:nvSpPr>
            <p:spPr>
              <a:xfrm>
                <a:off x="7118581" y="983868"/>
                <a:ext cx="2292118" cy="13379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A3686E86-40BF-D048-8812-FAE435FB3250}"/>
                  </a:ext>
                </a:extLst>
              </p:cNvPr>
              <p:cNvSpPr txBox="1"/>
              <p:nvPr/>
            </p:nvSpPr>
            <p:spPr>
              <a:xfrm>
                <a:off x="7073801" y="460816"/>
                <a:ext cx="2146300" cy="369332"/>
              </a:xfrm>
              <a:prstGeom prst="rect">
                <a:avLst/>
              </a:prstGeom>
              <a:noFill/>
            </p:spPr>
            <p:txBody>
              <a:bodyPr wrap="square" rtlCol="0">
                <a:spAutoFit/>
              </a:bodyPr>
              <a:lstStyle/>
              <a:p>
                <a:r>
                  <a:rPr lang="en-US" dirty="0"/>
                  <a:t>Approach III  </a:t>
                </a:r>
              </a:p>
            </p:txBody>
          </p:sp>
          <p:sp>
            <p:nvSpPr>
              <p:cNvPr id="21" name="TextBox 20">
                <a:extLst>
                  <a:ext uri="{FF2B5EF4-FFF2-40B4-BE49-F238E27FC236}">
                    <a16:creationId xmlns:a16="http://schemas.microsoft.com/office/drawing/2014/main" id="{44894A51-4FF3-3D4D-8758-50B334CF472E}"/>
                  </a:ext>
                </a:extLst>
              </p:cNvPr>
              <p:cNvSpPr txBox="1"/>
              <p:nvPr/>
            </p:nvSpPr>
            <p:spPr>
              <a:xfrm>
                <a:off x="7226201" y="1044480"/>
                <a:ext cx="2197100" cy="1446760"/>
              </a:xfrm>
              <a:prstGeom prst="rect">
                <a:avLst/>
              </a:prstGeom>
              <a:noFill/>
            </p:spPr>
            <p:txBody>
              <a:bodyPr wrap="square" rtlCol="0">
                <a:spAutoFit/>
              </a:bodyPr>
              <a:lstStyle/>
              <a:p>
                <a:r>
                  <a:rPr lang="en-US" dirty="0"/>
                  <a:t>Corporate Fundraising/Foundation/HNW/MFI/Financial Inst.</a:t>
                </a:r>
              </a:p>
              <a:p>
                <a:endParaRPr lang="en-US" dirty="0"/>
              </a:p>
            </p:txBody>
          </p:sp>
          <p:sp>
            <p:nvSpPr>
              <p:cNvPr id="25" name="TextBox 24">
                <a:extLst>
                  <a:ext uri="{FF2B5EF4-FFF2-40B4-BE49-F238E27FC236}">
                    <a16:creationId xmlns:a16="http://schemas.microsoft.com/office/drawing/2014/main" id="{19A800CD-FB70-DC49-B2E7-8FB4A59B3AD5}"/>
                  </a:ext>
                </a:extLst>
              </p:cNvPr>
              <p:cNvSpPr txBox="1"/>
              <p:nvPr/>
            </p:nvSpPr>
            <p:spPr>
              <a:xfrm>
                <a:off x="6603901" y="2561798"/>
                <a:ext cx="3098801" cy="4430703"/>
              </a:xfrm>
              <a:prstGeom prst="rect">
                <a:avLst/>
              </a:prstGeom>
              <a:noFill/>
            </p:spPr>
            <p:txBody>
              <a:bodyPr wrap="square" rtlCol="0">
                <a:spAutoFit/>
              </a:bodyPr>
              <a:lstStyle/>
              <a:p>
                <a:pPr marL="285750" indent="-285750">
                  <a:buFont typeface="Arial"/>
                  <a:buChar char="•"/>
                </a:pPr>
                <a:r>
                  <a:rPr lang="en-US" dirty="0"/>
                  <a:t>Leverage innovation hubs within Microsoft to design cloud-based apps that will boost  VSO’s ability to scale  program interventions remotely &amp; in real time.</a:t>
                </a:r>
              </a:p>
              <a:p>
                <a:pPr marL="285750" indent="-285750">
                  <a:buFont typeface="Arial"/>
                  <a:buChar char="•"/>
                </a:pPr>
                <a:r>
                  <a:rPr lang="en-US" dirty="0">
                    <a:solidFill>
                      <a:srgbClr val="FF0000"/>
                    </a:solidFill>
                  </a:rPr>
                  <a:t>*</a:t>
                </a:r>
                <a:r>
                  <a:rPr lang="en-US" dirty="0"/>
                  <a:t>Initiate a professional consulting unit within the </a:t>
                </a:r>
                <a:r>
                  <a:rPr lang="en-US" b="1" i="1" dirty="0"/>
                  <a:t>volunteer program.</a:t>
                </a:r>
              </a:p>
              <a:p>
                <a:pPr marL="285750" indent="-285750">
                  <a:buFont typeface="Arial"/>
                  <a:buChar char="•"/>
                </a:pPr>
                <a:r>
                  <a:rPr lang="en-US" b="1" i="1" dirty="0"/>
                  <a:t>Employee Matching funds</a:t>
                </a:r>
                <a:r>
                  <a:rPr lang="en-US" dirty="0"/>
                  <a:t> </a:t>
                </a:r>
              </a:p>
              <a:p>
                <a:pPr marL="285750" indent="-285750">
                  <a:buFont typeface="Arial"/>
                  <a:buChar char="•"/>
                </a:pPr>
                <a:r>
                  <a:rPr lang="en-US" dirty="0"/>
                  <a:t>Financial linkages with banks</a:t>
                </a:r>
              </a:p>
              <a:p>
                <a:pPr marL="285750" indent="-285750">
                  <a:buFont typeface="Arial"/>
                  <a:buChar char="•"/>
                </a:pPr>
                <a:r>
                  <a:rPr lang="en-US" dirty="0"/>
                  <a:t>Target HNWI i.e. Dangote. </a:t>
                </a:r>
              </a:p>
              <a:p>
                <a:pPr marL="285750" indent="-285750">
                  <a:buFont typeface="Arial"/>
                  <a:buChar char="•"/>
                </a:pPr>
                <a:endParaRPr lang="en-US" dirty="0"/>
              </a:p>
              <a:p>
                <a:endParaRPr lang="en-US" dirty="0"/>
              </a:p>
              <a:p>
                <a:endParaRPr lang="en-US" dirty="0"/>
              </a:p>
              <a:p>
                <a:endParaRPr lang="en-US" dirty="0"/>
              </a:p>
            </p:txBody>
          </p:sp>
        </p:grpSp>
        <p:sp>
          <p:nvSpPr>
            <p:cNvPr id="37" name="Down Arrow 36">
              <a:extLst>
                <a:ext uri="{FF2B5EF4-FFF2-40B4-BE49-F238E27FC236}">
                  <a16:creationId xmlns:a16="http://schemas.microsoft.com/office/drawing/2014/main" id="{6B4CCC78-6475-024E-9054-996DCC7203EC}"/>
                </a:ext>
              </a:extLst>
            </p:cNvPr>
            <p:cNvSpPr/>
            <p:nvPr/>
          </p:nvSpPr>
          <p:spPr>
            <a:xfrm rot="16200000">
              <a:off x="8773886" y="1259239"/>
              <a:ext cx="292993" cy="6405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651501AA-1D9C-6043-96F8-6D535CD08253}"/>
                </a:ext>
              </a:extLst>
            </p:cNvPr>
            <p:cNvSpPr txBox="1"/>
            <p:nvPr/>
          </p:nvSpPr>
          <p:spPr>
            <a:xfrm>
              <a:off x="9393990" y="1060645"/>
              <a:ext cx="2325470" cy="1200329"/>
            </a:xfrm>
            <a:prstGeom prst="rect">
              <a:avLst/>
            </a:prstGeom>
            <a:noFill/>
          </p:spPr>
          <p:txBody>
            <a:bodyPr wrap="square" rtlCol="0">
              <a:spAutoFit/>
            </a:bodyPr>
            <a:lstStyle/>
            <a:p>
              <a:r>
                <a:rPr lang="en-US" dirty="0"/>
                <a:t>Public Relations, Events, Social Media, Celebrity Endorsements</a:t>
              </a:r>
            </a:p>
          </p:txBody>
        </p:sp>
      </p:grpSp>
      <p:sp>
        <p:nvSpPr>
          <p:cNvPr id="2" name="TextBox 1">
            <a:extLst>
              <a:ext uri="{FF2B5EF4-FFF2-40B4-BE49-F238E27FC236}">
                <a16:creationId xmlns:a16="http://schemas.microsoft.com/office/drawing/2014/main" id="{2F68461E-63AC-5A4B-9F09-7638EFB8AF3C}"/>
              </a:ext>
            </a:extLst>
          </p:cNvPr>
          <p:cNvSpPr txBox="1"/>
          <p:nvPr/>
        </p:nvSpPr>
        <p:spPr>
          <a:xfrm>
            <a:off x="411882" y="0"/>
            <a:ext cx="11373718" cy="523220"/>
          </a:xfrm>
          <a:prstGeom prst="rect">
            <a:avLst/>
          </a:prstGeom>
          <a:noFill/>
        </p:spPr>
        <p:txBody>
          <a:bodyPr wrap="square" rtlCol="0" anchor="t">
            <a:spAutoFit/>
          </a:bodyPr>
          <a:lstStyle/>
          <a:p>
            <a:r>
              <a:rPr lang="en-US" sz="2800" b="1" dirty="0">
                <a:latin typeface="+mj-lt"/>
              </a:rPr>
              <a:t>Scaling Strategy: Diverse Funding Sources &amp; Activities </a:t>
            </a:r>
          </a:p>
        </p:txBody>
      </p:sp>
      <p:cxnSp>
        <p:nvCxnSpPr>
          <p:cNvPr id="9" name="Straight Arrow Connector 8">
            <a:extLst>
              <a:ext uri="{FF2B5EF4-FFF2-40B4-BE49-F238E27FC236}">
                <a16:creationId xmlns:a16="http://schemas.microsoft.com/office/drawing/2014/main" id="{FB6B9107-B51A-0E42-927E-6CADB22613C6}"/>
              </a:ext>
            </a:extLst>
          </p:cNvPr>
          <p:cNvCxnSpPr/>
          <p:nvPr/>
        </p:nvCxnSpPr>
        <p:spPr>
          <a:xfrm>
            <a:off x="727102" y="6337882"/>
            <a:ext cx="11096598" cy="248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2576A07-E3DC-5841-8646-0590E9483E35}"/>
              </a:ext>
            </a:extLst>
          </p:cNvPr>
          <p:cNvSpPr txBox="1"/>
          <p:nvPr/>
        </p:nvSpPr>
        <p:spPr>
          <a:xfrm>
            <a:off x="715824" y="6363818"/>
            <a:ext cx="2375971" cy="369332"/>
          </a:xfrm>
          <a:prstGeom prst="rect">
            <a:avLst/>
          </a:prstGeom>
          <a:noFill/>
        </p:spPr>
        <p:txBody>
          <a:bodyPr wrap="none" rtlCol="0">
            <a:spAutoFit/>
          </a:bodyPr>
          <a:lstStyle/>
          <a:p>
            <a:r>
              <a:rPr lang="en-US" dirty="0"/>
              <a:t>June – September 2020</a:t>
            </a:r>
          </a:p>
        </p:txBody>
      </p:sp>
      <p:sp>
        <p:nvSpPr>
          <p:cNvPr id="30" name="TextBox 29">
            <a:extLst>
              <a:ext uri="{FF2B5EF4-FFF2-40B4-BE49-F238E27FC236}">
                <a16:creationId xmlns:a16="http://schemas.microsoft.com/office/drawing/2014/main" id="{1863B65B-4F1A-5942-BDED-EBA190B4F042}"/>
              </a:ext>
            </a:extLst>
          </p:cNvPr>
          <p:cNvSpPr txBox="1"/>
          <p:nvPr/>
        </p:nvSpPr>
        <p:spPr>
          <a:xfrm>
            <a:off x="3414989" y="6363818"/>
            <a:ext cx="2102671" cy="369332"/>
          </a:xfrm>
          <a:prstGeom prst="rect">
            <a:avLst/>
          </a:prstGeom>
          <a:noFill/>
        </p:spPr>
        <p:txBody>
          <a:bodyPr wrap="none" rtlCol="0">
            <a:spAutoFit/>
          </a:bodyPr>
          <a:lstStyle/>
          <a:p>
            <a:r>
              <a:rPr lang="en-US" dirty="0"/>
              <a:t>October  – Jan 2021</a:t>
            </a:r>
          </a:p>
        </p:txBody>
      </p:sp>
      <p:sp>
        <p:nvSpPr>
          <p:cNvPr id="31" name="TextBox 30">
            <a:extLst>
              <a:ext uri="{FF2B5EF4-FFF2-40B4-BE49-F238E27FC236}">
                <a16:creationId xmlns:a16="http://schemas.microsoft.com/office/drawing/2014/main" id="{F3313D26-B556-F44C-A735-D8C7912E9A5E}"/>
              </a:ext>
            </a:extLst>
          </p:cNvPr>
          <p:cNvSpPr txBox="1"/>
          <p:nvPr/>
        </p:nvSpPr>
        <p:spPr>
          <a:xfrm>
            <a:off x="6326890" y="6350574"/>
            <a:ext cx="2181344" cy="369332"/>
          </a:xfrm>
          <a:prstGeom prst="rect">
            <a:avLst/>
          </a:prstGeom>
          <a:noFill/>
        </p:spPr>
        <p:txBody>
          <a:bodyPr wrap="none" rtlCol="0">
            <a:spAutoFit/>
          </a:bodyPr>
          <a:lstStyle/>
          <a:p>
            <a:r>
              <a:rPr lang="en-US" dirty="0"/>
              <a:t>Feb 2021 – May 2021</a:t>
            </a:r>
          </a:p>
        </p:txBody>
      </p:sp>
      <p:sp>
        <p:nvSpPr>
          <p:cNvPr id="32" name="TextBox 31">
            <a:extLst>
              <a:ext uri="{FF2B5EF4-FFF2-40B4-BE49-F238E27FC236}">
                <a16:creationId xmlns:a16="http://schemas.microsoft.com/office/drawing/2014/main" id="{1B8B0A44-79DF-7D4D-A8BE-E29055640A46}"/>
              </a:ext>
            </a:extLst>
          </p:cNvPr>
          <p:cNvSpPr txBox="1"/>
          <p:nvPr/>
        </p:nvSpPr>
        <p:spPr>
          <a:xfrm>
            <a:off x="9537700" y="6351118"/>
            <a:ext cx="2654300" cy="369332"/>
          </a:xfrm>
          <a:prstGeom prst="rect">
            <a:avLst/>
          </a:prstGeom>
          <a:noFill/>
        </p:spPr>
        <p:txBody>
          <a:bodyPr wrap="square" rtlCol="0">
            <a:spAutoFit/>
          </a:bodyPr>
          <a:lstStyle/>
          <a:p>
            <a:r>
              <a:rPr lang="en-US" dirty="0"/>
              <a:t>June - September 2021</a:t>
            </a:r>
          </a:p>
        </p:txBody>
      </p:sp>
      <p:sp>
        <p:nvSpPr>
          <p:cNvPr id="6" name="Slide Number Placeholder 5"/>
          <p:cNvSpPr>
            <a:spLocks noGrp="1"/>
          </p:cNvSpPr>
          <p:nvPr>
            <p:ph type="sldNum" sz="quarter" idx="12"/>
          </p:nvPr>
        </p:nvSpPr>
        <p:spPr/>
        <p:txBody>
          <a:bodyPr/>
          <a:lstStyle/>
          <a:p>
            <a:fld id="{D57F1E4F-1CFF-5643-939E-217C01CDF565}" type="slidenum">
              <a:rPr lang="en-US" smtClean="0"/>
              <a:pPr/>
              <a:t>13</a:t>
            </a:fld>
            <a:endParaRPr lang="en-US" dirty="0"/>
          </a:p>
        </p:txBody>
      </p:sp>
      <p:sp>
        <p:nvSpPr>
          <p:cNvPr id="34" name="TextBox 33">
            <a:extLst>
              <a:ext uri="{FF2B5EF4-FFF2-40B4-BE49-F238E27FC236}">
                <a16:creationId xmlns:a16="http://schemas.microsoft.com/office/drawing/2014/main" id="{DC27E77E-C64D-C649-998C-13BBF4136452}"/>
              </a:ext>
            </a:extLst>
          </p:cNvPr>
          <p:cNvSpPr txBox="1"/>
          <p:nvPr/>
        </p:nvSpPr>
        <p:spPr>
          <a:xfrm>
            <a:off x="434684" y="716127"/>
            <a:ext cx="2143416" cy="369332"/>
          </a:xfrm>
          <a:prstGeom prst="rect">
            <a:avLst/>
          </a:prstGeom>
          <a:noFill/>
        </p:spPr>
        <p:txBody>
          <a:bodyPr wrap="square" rtlCol="0">
            <a:spAutoFit/>
          </a:bodyPr>
          <a:lstStyle/>
          <a:p>
            <a:r>
              <a:rPr lang="en-US" dirty="0"/>
              <a:t>Approach I  </a:t>
            </a:r>
          </a:p>
        </p:txBody>
      </p:sp>
      <p:sp>
        <p:nvSpPr>
          <p:cNvPr id="36" name="Rectangle 35">
            <a:extLst>
              <a:ext uri="{FF2B5EF4-FFF2-40B4-BE49-F238E27FC236}">
                <a16:creationId xmlns:a16="http://schemas.microsoft.com/office/drawing/2014/main" id="{34945AF0-904D-3944-A4A4-1AC5BB1D39BD}"/>
              </a:ext>
            </a:extLst>
          </p:cNvPr>
          <p:cNvSpPr/>
          <p:nvPr/>
        </p:nvSpPr>
        <p:spPr>
          <a:xfrm>
            <a:off x="9557080" y="1302679"/>
            <a:ext cx="2292118" cy="13379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34945AF0-904D-3944-A4A4-1AC5BB1D39BD}"/>
              </a:ext>
            </a:extLst>
          </p:cNvPr>
          <p:cNvSpPr/>
          <p:nvPr/>
        </p:nvSpPr>
        <p:spPr>
          <a:xfrm>
            <a:off x="3105480" y="1213779"/>
            <a:ext cx="2292118" cy="13262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19A800CD-FB70-DC49-B2E7-8FB4A59B3AD5}"/>
              </a:ext>
            </a:extLst>
          </p:cNvPr>
          <p:cNvSpPr txBox="1"/>
          <p:nvPr/>
        </p:nvSpPr>
        <p:spPr>
          <a:xfrm>
            <a:off x="8991600" y="2849952"/>
            <a:ext cx="2997200" cy="3416320"/>
          </a:xfrm>
          <a:prstGeom prst="rect">
            <a:avLst/>
          </a:prstGeom>
          <a:noFill/>
        </p:spPr>
        <p:txBody>
          <a:bodyPr wrap="square" rtlCol="0">
            <a:spAutoFit/>
          </a:bodyPr>
          <a:lstStyle/>
          <a:p>
            <a:pPr marL="285750" indent="-285750">
              <a:buFont typeface="Arial"/>
              <a:buChar char="•"/>
            </a:pPr>
            <a:r>
              <a:rPr lang="en-US" dirty="0"/>
              <a:t>Social media fundraising campaigns (</a:t>
            </a:r>
            <a:r>
              <a:rPr lang="en-US" i="1" dirty="0"/>
              <a:t>gofundme.com</a:t>
            </a:r>
            <a:r>
              <a:rPr lang="en-US" dirty="0"/>
              <a:t>)  also as a tool to influence policy reform i.e. disabled rights, prisoners &amp; elderly.</a:t>
            </a:r>
          </a:p>
          <a:p>
            <a:pPr marL="285750" indent="-285750">
              <a:buFont typeface="Arial"/>
              <a:buChar char="•"/>
            </a:pPr>
            <a:r>
              <a:rPr lang="en-US" dirty="0"/>
              <a:t>Events: “Virtual runs, walks,  webinars, etc.</a:t>
            </a:r>
          </a:p>
          <a:p>
            <a:pPr marL="285750" indent="-285750">
              <a:buFont typeface="Arial"/>
              <a:buChar char="•"/>
            </a:pPr>
            <a:r>
              <a:rPr lang="en-US" dirty="0"/>
              <a:t>Initiate series of evidence -  based workshops on inclusion - showcasing VSO’s 60 years’ use of volunteers to fight poverty</a:t>
            </a:r>
          </a:p>
        </p:txBody>
      </p:sp>
      <p:sp>
        <p:nvSpPr>
          <p:cNvPr id="42" name="TextBox 41">
            <a:extLst>
              <a:ext uri="{FF2B5EF4-FFF2-40B4-BE49-F238E27FC236}">
                <a16:creationId xmlns:a16="http://schemas.microsoft.com/office/drawing/2014/main" id="{A3686E86-40BF-D048-8812-FAE435FB3250}"/>
              </a:ext>
            </a:extLst>
          </p:cNvPr>
          <p:cNvSpPr txBox="1"/>
          <p:nvPr/>
        </p:nvSpPr>
        <p:spPr>
          <a:xfrm>
            <a:off x="9512300" y="754227"/>
            <a:ext cx="1879600" cy="369332"/>
          </a:xfrm>
          <a:prstGeom prst="rect">
            <a:avLst/>
          </a:prstGeom>
          <a:noFill/>
        </p:spPr>
        <p:txBody>
          <a:bodyPr wrap="square" rtlCol="0">
            <a:spAutoFit/>
          </a:bodyPr>
          <a:lstStyle/>
          <a:p>
            <a:r>
              <a:rPr lang="en-US" dirty="0"/>
              <a:t>Approach IV  </a:t>
            </a:r>
          </a:p>
        </p:txBody>
      </p:sp>
      <p:sp>
        <p:nvSpPr>
          <p:cNvPr id="44" name="TextBox 43">
            <a:extLst>
              <a:ext uri="{FF2B5EF4-FFF2-40B4-BE49-F238E27FC236}">
                <a16:creationId xmlns:a16="http://schemas.microsoft.com/office/drawing/2014/main" id="{857E8BAF-FAAF-0742-9AC3-5BD1B73C9082}"/>
              </a:ext>
            </a:extLst>
          </p:cNvPr>
          <p:cNvSpPr txBox="1"/>
          <p:nvPr/>
        </p:nvSpPr>
        <p:spPr>
          <a:xfrm>
            <a:off x="317500" y="2887682"/>
            <a:ext cx="2692400" cy="3693319"/>
          </a:xfrm>
          <a:prstGeom prst="rect">
            <a:avLst/>
          </a:prstGeom>
          <a:noFill/>
        </p:spPr>
        <p:txBody>
          <a:bodyPr wrap="square" rtlCol="0">
            <a:spAutoFit/>
          </a:bodyPr>
          <a:lstStyle/>
          <a:p>
            <a:pPr marL="285750" indent="-285750">
              <a:buFont typeface="Arial"/>
              <a:buChar char="•"/>
            </a:pPr>
            <a:r>
              <a:rPr lang="en-US" dirty="0">
                <a:cs typeface="Times New Roman"/>
              </a:rPr>
              <a:t>Global Fund/Covid19 relief (Health).</a:t>
            </a:r>
          </a:p>
          <a:p>
            <a:pPr marL="285750" indent="-285750">
              <a:buFont typeface="Arial"/>
              <a:buChar char="•"/>
            </a:pPr>
            <a:r>
              <a:rPr lang="en-US" dirty="0">
                <a:cs typeface="Times New Roman"/>
              </a:rPr>
              <a:t>USAID </a:t>
            </a:r>
            <a:r>
              <a:rPr lang="mr-IN" dirty="0">
                <a:cs typeface="Times New Roman"/>
              </a:rPr>
              <a:t>–</a:t>
            </a:r>
            <a:r>
              <a:rPr lang="en-US" dirty="0">
                <a:cs typeface="Times New Roman"/>
              </a:rPr>
              <a:t> “Feed the Future” (Agriculture)</a:t>
            </a:r>
          </a:p>
          <a:p>
            <a:pPr marL="285750" indent="-285750">
              <a:buFont typeface="Arial"/>
              <a:buChar char="•"/>
            </a:pPr>
            <a:r>
              <a:rPr lang="en-US" dirty="0">
                <a:cs typeface="Times New Roman"/>
              </a:rPr>
              <a:t>African Development Bank fund (Covid19 fund).</a:t>
            </a:r>
          </a:p>
          <a:p>
            <a:pPr marL="285750" indent="-285750">
              <a:buFont typeface="Arial"/>
              <a:buChar char="•"/>
            </a:pPr>
            <a:r>
              <a:rPr lang="en-US" dirty="0">
                <a:cs typeface="Times New Roman"/>
              </a:rPr>
              <a:t>Bill &amp; Melinda Gates Foundation: National Polio eradication plan.</a:t>
            </a:r>
          </a:p>
          <a:p>
            <a:pPr marL="285750" indent="-285750">
              <a:buFont typeface="Arial"/>
              <a:buChar char="•"/>
            </a:pPr>
            <a:r>
              <a:rPr lang="en-US" dirty="0">
                <a:cs typeface="Times New Roman"/>
              </a:rPr>
              <a:t>Pursue partnerships with lead UN Agencies.</a:t>
            </a:r>
          </a:p>
          <a:p>
            <a:r>
              <a:rPr lang="en-US" dirty="0"/>
              <a:t>		</a:t>
            </a:r>
          </a:p>
        </p:txBody>
      </p:sp>
      <p:sp>
        <p:nvSpPr>
          <p:cNvPr id="43" name="Footer Placeholder 1"/>
          <p:cNvSpPr>
            <a:spLocks noGrp="1"/>
          </p:cNvSpPr>
          <p:nvPr>
            <p:ph type="ftr" sz="quarter" idx="11"/>
          </p:nvPr>
        </p:nvSpPr>
        <p:spPr>
          <a:xfrm>
            <a:off x="492292" y="6858000"/>
            <a:ext cx="3279608" cy="365125"/>
          </a:xfrm>
        </p:spPr>
        <p:txBody>
          <a:bodyPr/>
          <a:lstStyle/>
          <a:p>
            <a:r>
              <a:rPr lang="en-US" dirty="0"/>
              <a:t>SARAH KAYONGO_ VSO_06052020</a:t>
            </a:r>
          </a:p>
        </p:txBody>
      </p:sp>
    </p:spTree>
    <p:extLst>
      <p:ext uri="{BB962C8B-B14F-4D97-AF65-F5344CB8AC3E}">
        <p14:creationId xmlns:p14="http://schemas.microsoft.com/office/powerpoint/2010/main" val="1306664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174792" y="6492875"/>
            <a:ext cx="5591008" cy="365125"/>
          </a:xfrm>
        </p:spPr>
        <p:txBody>
          <a:bodyPr/>
          <a:lstStyle/>
          <a:p>
            <a:r>
              <a:rPr lang="en-US" dirty="0">
                <a:solidFill>
                  <a:srgbClr val="3366FF"/>
                </a:solidFill>
              </a:rPr>
              <a:t>SARAH KAYONGO_VSO_06052020</a:t>
            </a:r>
            <a:r>
              <a:rPr lang="en-US" dirty="0"/>
              <a:t>	</a:t>
            </a:r>
            <a:r>
              <a:rPr lang="en-US" dirty="0">
                <a:solidFill>
                  <a:srgbClr val="FF0000"/>
                </a:solidFill>
              </a:rPr>
              <a:t>*</a:t>
            </a:r>
            <a:r>
              <a:rPr lang="en-US" dirty="0">
                <a:solidFill>
                  <a:srgbClr val="3366FF"/>
                </a:solidFill>
              </a:rPr>
              <a:t>HNWI = High net worth individuals</a:t>
            </a:r>
            <a:r>
              <a:rPr lang="en-US" dirty="0"/>
              <a:t>	</a:t>
            </a:r>
            <a:r>
              <a:rPr lang="en-US" dirty="0">
                <a:solidFill>
                  <a:srgbClr val="FF0000"/>
                </a:solidFill>
              </a:rPr>
              <a:t>*</a:t>
            </a:r>
            <a:r>
              <a:rPr lang="en-US" dirty="0">
                <a:solidFill>
                  <a:srgbClr val="3366FF"/>
                </a:solidFill>
              </a:rPr>
              <a:t>mfi= microfinance institution</a:t>
            </a:r>
            <a:r>
              <a:rPr lang="en-US" dirty="0"/>
              <a:t>s	</a:t>
            </a:r>
            <a:r>
              <a:rPr lang="en-US" dirty="0">
                <a:solidFill>
                  <a:srgbClr val="FF0000"/>
                </a:solidFill>
              </a:rPr>
              <a:t>*</a:t>
            </a:r>
            <a:r>
              <a:rPr lang="en-US" dirty="0">
                <a:solidFill>
                  <a:srgbClr val="3366FF"/>
                </a:solidFill>
              </a:rPr>
              <a:t>CSR=CORPORATE SOCIAL RESPONSIBILITY</a:t>
            </a:r>
          </a:p>
        </p:txBody>
      </p:sp>
      <p:sp>
        <p:nvSpPr>
          <p:cNvPr id="3" name="Slide Number Placeholder 2"/>
          <p:cNvSpPr>
            <a:spLocks noGrp="1"/>
          </p:cNvSpPr>
          <p:nvPr>
            <p:ph type="sldNum" sz="quarter" idx="12"/>
          </p:nvPr>
        </p:nvSpPr>
        <p:spPr/>
        <p:txBody>
          <a:bodyPr/>
          <a:lstStyle/>
          <a:p>
            <a:fld id="{D57F1E4F-1CFF-5643-939E-217C01CDF565}" type="slidenum">
              <a:rPr lang="en-US" smtClean="0"/>
              <a:pPr/>
              <a:t>14</a:t>
            </a:fld>
            <a:endParaRPr lang="en-US" dirty="0"/>
          </a:p>
        </p:txBody>
      </p:sp>
      <p:graphicFrame>
        <p:nvGraphicFramePr>
          <p:cNvPr id="4" name="Diagram 3"/>
          <p:cNvGraphicFramePr/>
          <p:nvPr>
            <p:extLst>
              <p:ext uri="{D42A27DB-BD31-4B8C-83A1-F6EECF244321}">
                <p14:modId xmlns:p14="http://schemas.microsoft.com/office/powerpoint/2010/main" val="2841521112"/>
              </p:ext>
            </p:extLst>
          </p:nvPr>
        </p:nvGraphicFramePr>
        <p:xfrm>
          <a:off x="558800" y="681566"/>
          <a:ext cx="54102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6083300" y="762000"/>
            <a:ext cx="5943600" cy="5867400"/>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pPr marL="342900" indent="-342900">
              <a:buFont typeface="Arial"/>
              <a:buChar char="•"/>
            </a:pPr>
            <a:r>
              <a:rPr lang="en-US" sz="2000" dirty="0"/>
              <a:t>1/3 of the time will be spent on institutional donor portfolio pipeline and new proposal development to new donor partners.</a:t>
            </a:r>
          </a:p>
          <a:p>
            <a:pPr marL="285750" indent="-285750">
              <a:buFont typeface="Arial"/>
              <a:buChar char="•"/>
            </a:pPr>
            <a:endParaRPr lang="en-US" sz="2000" dirty="0"/>
          </a:p>
          <a:p>
            <a:pPr marL="285750" indent="-285750">
              <a:buFont typeface="Arial"/>
              <a:buChar char="•"/>
            </a:pPr>
            <a:r>
              <a:rPr lang="en-US" sz="2000" dirty="0"/>
              <a:t>1/3 of the time will be dedicated to engaging government ministries for reform policies and strategic partnerships. Half of this time will be dedicated to state level partnerships in all 36 states beginning with most vulnerable states (Sokoto, Borno and others).</a:t>
            </a:r>
          </a:p>
          <a:p>
            <a:pPr marL="285750" indent="-285750">
              <a:buFont typeface="Arial"/>
              <a:buChar char="•"/>
            </a:pPr>
            <a:endParaRPr lang="en-US" sz="2000" dirty="0"/>
          </a:p>
          <a:p>
            <a:pPr marL="285750" indent="-285750">
              <a:buFont typeface="Arial"/>
              <a:buChar char="•"/>
            </a:pPr>
            <a:r>
              <a:rPr lang="en-US" sz="2000" dirty="0"/>
              <a:t>The final third will be dedicated to systematic cultivation of the private sector: Oil &amp; gas, manufacturing, Telecom, Banking, HNWi, etc. with the aim of forging public private partnerships that align with their CSR and VSO’ program needs. </a:t>
            </a:r>
          </a:p>
          <a:p>
            <a:pPr marL="285750" indent="-285750">
              <a:buFont typeface="Arial"/>
              <a:buChar char="•"/>
            </a:pPr>
            <a:endParaRPr lang="en-US" sz="2000" dirty="0"/>
          </a:p>
          <a:p>
            <a:pPr marL="285750" indent="-285750">
              <a:buFont typeface="Arial"/>
              <a:buChar char="•"/>
            </a:pPr>
            <a:r>
              <a:rPr lang="en-US" sz="2000" dirty="0"/>
              <a:t>Innovation will be a crosscutting agenda for all program/partnership </a:t>
            </a:r>
            <a:r>
              <a:rPr lang="en-US" sz="2000" dirty="0" err="1"/>
              <a:t>effort.s</a:t>
            </a:r>
            <a:endParaRPr lang="en-US" sz="2000" dirty="0"/>
          </a:p>
        </p:txBody>
      </p:sp>
      <p:sp>
        <p:nvSpPr>
          <p:cNvPr id="6" name="TextBox 5">
            <a:extLst>
              <a:ext uri="{FF2B5EF4-FFF2-40B4-BE49-F238E27FC236}">
                <a16:creationId xmlns:a16="http://schemas.microsoft.com/office/drawing/2014/main" id="{2F68461E-63AC-5A4B-9F09-7638EFB8AF3C}"/>
              </a:ext>
            </a:extLst>
          </p:cNvPr>
          <p:cNvSpPr txBox="1"/>
          <p:nvPr/>
        </p:nvSpPr>
        <p:spPr>
          <a:xfrm>
            <a:off x="411882" y="0"/>
            <a:ext cx="11373718" cy="523220"/>
          </a:xfrm>
          <a:prstGeom prst="rect">
            <a:avLst/>
          </a:prstGeom>
          <a:noFill/>
        </p:spPr>
        <p:txBody>
          <a:bodyPr wrap="square" rtlCol="0" anchor="t">
            <a:spAutoFit/>
          </a:bodyPr>
          <a:lstStyle/>
          <a:p>
            <a:r>
              <a:rPr lang="en-US" sz="2800" b="1" dirty="0">
                <a:latin typeface="+mj-lt"/>
              </a:rPr>
              <a:t>Scaling Strategy: Multi-Partner Approach (Accountability) </a:t>
            </a:r>
          </a:p>
        </p:txBody>
      </p:sp>
    </p:spTree>
    <p:extLst>
      <p:ext uri="{BB962C8B-B14F-4D97-AF65-F5344CB8AC3E}">
        <p14:creationId xmlns:p14="http://schemas.microsoft.com/office/powerpoint/2010/main" val="1737984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7F1E4F-1CFF-5643-939E-217C01CDF565}" type="slidenum">
              <a:rPr lang="en-US" smtClean="0"/>
              <a:pPr/>
              <a:t>15</a:t>
            </a:fld>
            <a:endParaRPr lang="en-US" dirty="0"/>
          </a:p>
        </p:txBody>
      </p:sp>
      <p:graphicFrame>
        <p:nvGraphicFramePr>
          <p:cNvPr id="4" name="Diagram 3"/>
          <p:cNvGraphicFramePr/>
          <p:nvPr>
            <p:extLst>
              <p:ext uri="{D42A27DB-BD31-4B8C-83A1-F6EECF244321}">
                <p14:modId xmlns:p14="http://schemas.microsoft.com/office/powerpoint/2010/main" val="927254762"/>
              </p:ext>
            </p:extLst>
          </p:nvPr>
        </p:nvGraphicFramePr>
        <p:xfrm>
          <a:off x="1435100" y="719666"/>
          <a:ext cx="96266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2222500" y="5270500"/>
            <a:ext cx="8026400" cy="4445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a:t>INNOVATION</a:t>
            </a:r>
          </a:p>
        </p:txBody>
      </p:sp>
      <p:sp>
        <p:nvSpPr>
          <p:cNvPr id="6" name="TextBox 5">
            <a:extLst>
              <a:ext uri="{FF2B5EF4-FFF2-40B4-BE49-F238E27FC236}">
                <a16:creationId xmlns:a16="http://schemas.microsoft.com/office/drawing/2014/main" id="{2F68461E-63AC-5A4B-9F09-7638EFB8AF3C}"/>
              </a:ext>
            </a:extLst>
          </p:cNvPr>
          <p:cNvSpPr txBox="1"/>
          <p:nvPr/>
        </p:nvSpPr>
        <p:spPr>
          <a:xfrm>
            <a:off x="411882" y="0"/>
            <a:ext cx="11373718" cy="523220"/>
          </a:xfrm>
          <a:prstGeom prst="rect">
            <a:avLst/>
          </a:prstGeom>
          <a:noFill/>
        </p:spPr>
        <p:txBody>
          <a:bodyPr wrap="square" rtlCol="0" anchor="t">
            <a:spAutoFit/>
          </a:bodyPr>
          <a:lstStyle/>
          <a:p>
            <a:r>
              <a:rPr lang="en-US" sz="2800" dirty="0">
                <a:latin typeface="+mj-lt"/>
              </a:rPr>
              <a:t>VSO Nigeria </a:t>
            </a:r>
            <a:r>
              <a:rPr lang="mr-IN" sz="2800" dirty="0">
                <a:latin typeface="+mj-lt"/>
              </a:rPr>
              <a:t>–</a:t>
            </a:r>
            <a:r>
              <a:rPr lang="en-US" sz="2800" dirty="0">
                <a:latin typeface="+mj-lt"/>
              </a:rPr>
              <a:t> Vision 2030 </a:t>
            </a:r>
          </a:p>
        </p:txBody>
      </p:sp>
      <p:sp>
        <p:nvSpPr>
          <p:cNvPr id="7" name="Footer Placeholder 1"/>
          <p:cNvSpPr>
            <a:spLocks noGrp="1"/>
          </p:cNvSpPr>
          <p:nvPr>
            <p:ph type="ftr" sz="quarter" idx="11"/>
          </p:nvPr>
        </p:nvSpPr>
        <p:spPr>
          <a:xfrm>
            <a:off x="466892" y="6492875"/>
            <a:ext cx="3279608" cy="365125"/>
          </a:xfrm>
        </p:spPr>
        <p:txBody>
          <a:bodyPr/>
          <a:lstStyle/>
          <a:p>
            <a:r>
              <a:rPr lang="en-US" dirty="0"/>
              <a:t>SARAH KAYONGO_ VSO_06052020</a:t>
            </a:r>
          </a:p>
        </p:txBody>
      </p:sp>
    </p:spTree>
    <p:extLst>
      <p:ext uri="{BB962C8B-B14F-4D97-AF65-F5344CB8AC3E}">
        <p14:creationId xmlns:p14="http://schemas.microsoft.com/office/powerpoint/2010/main" val="1900914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ANK  YOU</a:t>
            </a:r>
          </a:p>
        </p:txBody>
      </p:sp>
      <p:sp>
        <p:nvSpPr>
          <p:cNvPr id="2" name="Vertical Text Placeholder 1"/>
          <p:cNvSpPr>
            <a:spLocks noGrp="1"/>
          </p:cNvSpPr>
          <p:nvPr>
            <p:ph type="body" orient="vert" idx="1"/>
          </p:nvPr>
        </p:nvSpPr>
        <p:spPr/>
        <p:txBody>
          <a:bodyPr/>
          <a:lstStyle/>
          <a:p>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pPr/>
              <a:t>16</a:t>
            </a:fld>
            <a:endParaRPr lang="en-US" dirty="0"/>
          </a:p>
        </p:txBody>
      </p:sp>
      <p:sp>
        <p:nvSpPr>
          <p:cNvPr id="11" name="Footer Placeholder 3"/>
          <p:cNvSpPr txBox="1">
            <a:spLocks/>
          </p:cNvSpPr>
          <p:nvPr/>
        </p:nvSpPr>
        <p:spPr>
          <a:xfrm>
            <a:off x="504992" y="6967811"/>
            <a:ext cx="6917210"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rgbClr val="3366FF"/>
                </a:solidFill>
              </a:rPr>
              <a:t>SARAH KAYONGO_VSO_06052020</a:t>
            </a:r>
          </a:p>
        </p:txBody>
      </p:sp>
      <p:pic>
        <p:nvPicPr>
          <p:cNvPr id="4" name="Picture 3"/>
          <p:cNvPicPr>
            <a:picLocks noChangeAspect="1"/>
          </p:cNvPicPr>
          <p:nvPr/>
        </p:nvPicPr>
        <p:blipFill>
          <a:blip r:embed="rId3"/>
          <a:stretch>
            <a:fillRect/>
          </a:stretch>
        </p:blipFill>
        <p:spPr>
          <a:xfrm>
            <a:off x="444500" y="1816100"/>
            <a:ext cx="11315700" cy="5041900"/>
          </a:xfrm>
          <a:prstGeom prst="rect">
            <a:avLst/>
          </a:prstGeom>
        </p:spPr>
      </p:pic>
    </p:spTree>
    <p:extLst>
      <p:ext uri="{BB962C8B-B14F-4D97-AF65-F5344CB8AC3E}">
        <p14:creationId xmlns:p14="http://schemas.microsoft.com/office/powerpoint/2010/main" val="3571599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7">
            <a:extLst>
              <a:ext uri="{FF2B5EF4-FFF2-40B4-BE49-F238E27FC236}">
                <a16:creationId xmlns:a16="http://schemas.microsoft.com/office/drawing/2014/main" id="{C43D050D-B2FB-4054-BB80-EDC6647017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6"/>
          <a:stretch/>
        </p:blipFill>
        <p:spPr>
          <a:xfrm>
            <a:off x="1020234" y="0"/>
            <a:ext cx="6625167" cy="9144000"/>
          </a:xfrm>
          <a:effectLst>
            <a:outerShdw blurRad="88900" dist="38100" dir="8100000" algn="tr" rotWithShape="0">
              <a:prstClr val="black">
                <a:alpha val="30000"/>
              </a:prstClr>
            </a:outerShdw>
          </a:effectLst>
        </p:spPr>
      </p:pic>
      <p:sp>
        <p:nvSpPr>
          <p:cNvPr id="22" name="Freeform: Shape 21">
            <a:extLst>
              <a:ext uri="{FF2B5EF4-FFF2-40B4-BE49-F238E27FC236}">
                <a16:creationId xmlns:a16="http://schemas.microsoft.com/office/drawing/2014/main" id="{2C6C19C2-BF84-4A2E-818E-B834945DF4E8}"/>
              </a:ext>
            </a:extLst>
          </p:cNvPr>
          <p:cNvSpPr/>
          <p:nvPr/>
        </p:nvSpPr>
        <p:spPr>
          <a:xfrm>
            <a:off x="3270929" y="826063"/>
            <a:ext cx="5200612" cy="864096"/>
          </a:xfrm>
          <a:custGeom>
            <a:avLst/>
            <a:gdLst>
              <a:gd name="connsiteX0" fmla="*/ 319675 w 3900459"/>
              <a:gd name="connsiteY0" fmla="*/ 0 h 648072"/>
              <a:gd name="connsiteX1" fmla="*/ 3900459 w 3900459"/>
              <a:gd name="connsiteY1" fmla="*/ 0 h 648072"/>
              <a:gd name="connsiteX2" fmla="*/ 3580784 w 3900459"/>
              <a:gd name="connsiteY2" fmla="*/ 648072 h 648072"/>
              <a:gd name="connsiteX3" fmla="*/ 0 w 3900459"/>
              <a:gd name="connsiteY3" fmla="*/ 648072 h 648072"/>
              <a:gd name="connsiteX4" fmla="*/ 319675 w 3900459"/>
              <a:gd name="connsiteY4" fmla="*/ 0 h 648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0459" h="648072">
                <a:moveTo>
                  <a:pt x="319675" y="0"/>
                </a:moveTo>
                <a:lnTo>
                  <a:pt x="3900459" y="0"/>
                </a:lnTo>
                <a:lnTo>
                  <a:pt x="3580784" y="648072"/>
                </a:lnTo>
                <a:lnTo>
                  <a:pt x="0" y="648072"/>
                </a:lnTo>
                <a:lnTo>
                  <a:pt x="319675" y="0"/>
                </a:lnTo>
                <a:close/>
              </a:path>
            </a:pathLst>
          </a:custGeom>
          <a:ln/>
        </p:spPr>
        <p:style>
          <a:lnRef idx="0">
            <a:schemeClr val="accent2"/>
          </a:lnRef>
          <a:fillRef idx="3">
            <a:schemeClr val="accent2"/>
          </a:fillRef>
          <a:effectRef idx="3">
            <a:schemeClr val="accent2"/>
          </a:effectRef>
          <a:fontRef idx="minor">
            <a:schemeClr val="lt1"/>
          </a:fontRef>
        </p:style>
        <p:txBody>
          <a:bodyPr lIns="743981" tIns="60958" rIns="743981" bIns="60958" rtlCol="0" anchor="ctr"/>
          <a:lstStyle/>
          <a:p>
            <a:pPr algn="ctr"/>
            <a:r>
              <a:rPr lang="en-IN" sz="4300" b="1" dirty="0">
                <a:solidFill>
                  <a:schemeClr val="bg1"/>
                </a:solidFill>
              </a:rPr>
              <a:t>AGENDA</a:t>
            </a:r>
            <a:endParaRPr lang="en-IN" sz="4300" dirty="0">
              <a:solidFill>
                <a:schemeClr val="bg1"/>
              </a:solidFill>
            </a:endParaRPr>
          </a:p>
        </p:txBody>
      </p:sp>
      <p:sp>
        <p:nvSpPr>
          <p:cNvPr id="30" name="Slide Number Placeholder 5">
            <a:extLst>
              <a:ext uri="{FF2B5EF4-FFF2-40B4-BE49-F238E27FC236}">
                <a16:creationId xmlns:a16="http://schemas.microsoft.com/office/drawing/2014/main" id="{84B9E788-3607-4DA3-9528-B3CD486946FD}"/>
              </a:ext>
            </a:extLst>
          </p:cNvPr>
          <p:cNvSpPr txBox="1">
            <a:spLocks/>
          </p:cNvSpPr>
          <p:nvPr/>
        </p:nvSpPr>
        <p:spPr>
          <a:xfrm>
            <a:off x="11744325" y="6571642"/>
            <a:ext cx="447676" cy="320655"/>
          </a:xfrm>
          <a:prstGeom prst="rect">
            <a:avLst/>
          </a:prstGeom>
        </p:spPr>
        <p:txBody>
          <a:bodyPr lIns="121917" tIns="60958" rIns="121917" bIns="60958"/>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fld id="{88391E40-1E00-044F-B488-7AB4556CC438}" type="slidenum">
              <a:rPr lang="en-US" sz="1300"/>
              <a:pPr/>
              <a:t>2</a:t>
            </a:fld>
            <a:endParaRPr lang="en-US" sz="1300" dirty="0"/>
          </a:p>
        </p:txBody>
      </p:sp>
      <p:sp>
        <p:nvSpPr>
          <p:cNvPr id="36" name="Date Placeholder 3">
            <a:extLst>
              <a:ext uri="{FF2B5EF4-FFF2-40B4-BE49-F238E27FC236}">
                <a16:creationId xmlns:a16="http://schemas.microsoft.com/office/drawing/2014/main" id="{F247B442-7BC3-4016-B731-2B310B3BBA7F}"/>
              </a:ext>
            </a:extLst>
          </p:cNvPr>
          <p:cNvSpPr txBox="1">
            <a:spLocks/>
          </p:cNvSpPr>
          <p:nvPr/>
        </p:nvSpPr>
        <p:spPr>
          <a:xfrm>
            <a:off x="-18122" y="6556659"/>
            <a:ext cx="3294722" cy="335637"/>
          </a:xfrm>
          <a:prstGeom prst="rect">
            <a:avLst/>
          </a:prstGeom>
        </p:spPr>
        <p:txBody>
          <a:bodyPr lIns="121917" tIns="60958" rIns="121917" bIns="60958"/>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endParaRPr lang="en-US" sz="1300" dirty="0"/>
          </a:p>
        </p:txBody>
      </p:sp>
      <p:sp>
        <p:nvSpPr>
          <p:cNvPr id="2" name="Picture Placeholder 1"/>
          <p:cNvSpPr>
            <a:spLocks noGrp="1"/>
          </p:cNvSpPr>
          <p:nvPr>
            <p:ph type="pic" sz="quarter" idx="10"/>
          </p:nvPr>
        </p:nvSpPr>
        <p:spPr>
          <a:xfrm>
            <a:off x="469900" y="2159000"/>
            <a:ext cx="5372099" cy="4064000"/>
          </a:xfrm>
        </p:spPr>
        <p:txBody>
          <a:bodyPr/>
          <a:lstStyle/>
          <a:p>
            <a:endParaRPr lang="en-US"/>
          </a:p>
        </p:txBody>
      </p:sp>
      <p:sp>
        <p:nvSpPr>
          <p:cNvPr id="28" name="Rectangle 27">
            <a:extLst>
              <a:ext uri="{FF2B5EF4-FFF2-40B4-BE49-F238E27FC236}">
                <a16:creationId xmlns:a16="http://schemas.microsoft.com/office/drawing/2014/main" id="{3FE9758B-E361-4084-8D9F-729FA6C4AD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2180496"/>
            <a:ext cx="5404639" cy="4045683"/>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Picture 2" descr="Image result for agenda">
            <a:extLst>
              <a:ext uri="{FF2B5EF4-FFF2-40B4-BE49-F238E27FC236}">
                <a16:creationId xmlns:a16="http://schemas.microsoft.com/office/drawing/2014/main" id="{C261CD23-25B3-4BDF-AD5E-FFDCADFEF6E0}"/>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7225" y="2534498"/>
            <a:ext cx="4962525" cy="3302334"/>
          </a:xfrm>
          <a:prstGeom prst="rect">
            <a:avLst/>
          </a:prstGeom>
          <a:noFill/>
          <a:extLst>
            <a:ext uri="{909E8E84-426E-40dd-AFC4-6F175D3DCCD1}">
              <a14:hiddenFill xmlns="" xmlns:a14="http://schemas.microsoft.com/office/drawing/2010/main">
                <a:solidFill>
                  <a:srgbClr val="FFFFFF"/>
                </a:solidFill>
              </a14:hiddenFill>
            </a:ext>
          </a:extLst>
        </p:spPr>
      </p:pic>
      <p:sp>
        <p:nvSpPr>
          <p:cNvPr id="23" name="Content Placeholder 3"/>
          <p:cNvSpPr txBox="1">
            <a:spLocks/>
          </p:cNvSpPr>
          <p:nvPr/>
        </p:nvSpPr>
        <p:spPr>
          <a:xfrm>
            <a:off x="6156493" y="2332896"/>
            <a:ext cx="5654507" cy="3678303"/>
          </a:xfrm>
          <a:prstGeom prst="rect">
            <a:avLst/>
          </a:prstGeom>
        </p:spPr>
        <p:txBody>
          <a:bodyP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457200" indent="-457200">
              <a:buFont typeface="+mj-lt"/>
              <a:buAutoNum type="arabicPeriod"/>
            </a:pPr>
            <a:r>
              <a:rPr lang="en-GB" sz="2000" dirty="0"/>
              <a:t>Which donors and implementation partners will you focus on and why?</a:t>
            </a:r>
          </a:p>
          <a:p>
            <a:endParaRPr lang="en-US" sz="2000" dirty="0"/>
          </a:p>
          <a:p>
            <a:pPr marL="457200" indent="-457200">
              <a:buFont typeface="+mj-lt"/>
              <a:buAutoNum type="arabicPeriod"/>
            </a:pPr>
            <a:r>
              <a:rPr lang="en-GB" sz="2000" dirty="0"/>
              <a:t>What top priority programme areas and opportunities do you feel will be critical for VSO in the country/region? </a:t>
            </a:r>
          </a:p>
          <a:p>
            <a:endParaRPr lang="en-US" sz="2000" dirty="0"/>
          </a:p>
          <a:p>
            <a:pPr marL="457200" indent="-457200">
              <a:buFont typeface="+mj-lt"/>
              <a:buAutoNum type="arabicPeriod"/>
            </a:pPr>
            <a:r>
              <a:rPr lang="en-GB" sz="2000" dirty="0"/>
              <a:t>What specific actions will you take to secure new programme opportunities and scale VSO’s programme portfolio?</a:t>
            </a:r>
            <a:endParaRPr lang="en-US" sz="2000" dirty="0"/>
          </a:p>
        </p:txBody>
      </p:sp>
      <p:sp>
        <p:nvSpPr>
          <p:cNvPr id="31" name="Footer Placeholder 1"/>
          <p:cNvSpPr txBox="1">
            <a:spLocks/>
          </p:cNvSpPr>
          <p:nvPr/>
        </p:nvSpPr>
        <p:spPr>
          <a:xfrm>
            <a:off x="479592" y="6492875"/>
            <a:ext cx="691721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3366FF"/>
                </a:solidFill>
              </a:rPr>
              <a:t>SARAH KAYONGO_VSO_06052020</a:t>
            </a:r>
          </a:p>
        </p:txBody>
      </p:sp>
    </p:spTree>
    <p:extLst>
      <p:ext uri="{BB962C8B-B14F-4D97-AF65-F5344CB8AC3E}">
        <p14:creationId xmlns:p14="http://schemas.microsoft.com/office/powerpoint/2010/main" val="338356263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9901" y="584201"/>
            <a:ext cx="11191708" cy="2374899"/>
          </a:xfrm>
        </p:spPr>
        <p:txBody>
          <a:bodyPr anchor="ct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smtClean="0"/>
              <a:pPr/>
              <a:t>3</a:t>
            </a:fld>
            <a:endParaRPr lang="en-US" dirty="0"/>
          </a:p>
        </p:txBody>
      </p:sp>
      <p:graphicFrame>
        <p:nvGraphicFramePr>
          <p:cNvPr id="10" name="Content Placeholder 2">
            <a:extLst>
              <a:ext uri="{FF2B5EF4-FFF2-40B4-BE49-F238E27FC236}">
                <a16:creationId xmlns:a16="http://schemas.microsoft.com/office/drawing/2014/main" id="{263F1511-2A42-46CA-9F17-D765EFC935A8}"/>
              </a:ext>
            </a:extLst>
          </p:cNvPr>
          <p:cNvGraphicFramePr>
            <a:graphicFrameLocks/>
          </p:cNvGraphicFramePr>
          <p:nvPr>
            <p:extLst>
              <p:ext uri="{D42A27DB-BD31-4B8C-83A1-F6EECF244321}">
                <p14:modId xmlns:p14="http://schemas.microsoft.com/office/powerpoint/2010/main" val="679736381"/>
              </p:ext>
            </p:extLst>
          </p:nvPr>
        </p:nvGraphicFramePr>
        <p:xfrm>
          <a:off x="1085012" y="3165475"/>
          <a:ext cx="9951287" cy="2025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Footer Placeholder 1"/>
          <p:cNvSpPr txBox="1">
            <a:spLocks/>
          </p:cNvSpPr>
          <p:nvPr/>
        </p:nvSpPr>
        <p:spPr>
          <a:xfrm>
            <a:off x="466892" y="6492875"/>
            <a:ext cx="3279608"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SARAH KAYONGO_ VSO_06052020</a:t>
            </a:r>
          </a:p>
        </p:txBody>
      </p:sp>
      <p:sp>
        <p:nvSpPr>
          <p:cNvPr id="9" name="Frame 8"/>
          <p:cNvSpPr/>
          <p:nvPr/>
        </p:nvSpPr>
        <p:spPr>
          <a:xfrm>
            <a:off x="3822700" y="558800"/>
            <a:ext cx="4749800" cy="1524000"/>
          </a:xfrm>
          <a:prstGeom prst="fram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1" name="Rectangle 10"/>
          <p:cNvSpPr/>
          <p:nvPr/>
        </p:nvSpPr>
        <p:spPr>
          <a:xfrm>
            <a:off x="4165600" y="1034534"/>
            <a:ext cx="4051300" cy="646331"/>
          </a:xfrm>
          <a:prstGeom prst="rect">
            <a:avLst/>
          </a:prstGeom>
        </p:spPr>
        <p:txBody>
          <a:bodyPr wrap="square" anchor="ctr">
            <a:spAutoFit/>
          </a:bodyPr>
          <a:lstStyle/>
          <a:p>
            <a:pPr algn="ctr"/>
            <a:r>
              <a:rPr lang="en-US" sz="3600" dirty="0"/>
              <a:t>QUESTION 1</a:t>
            </a:r>
          </a:p>
        </p:txBody>
      </p:sp>
    </p:spTree>
    <p:extLst>
      <p:ext uri="{BB962C8B-B14F-4D97-AF65-F5344CB8AC3E}">
        <p14:creationId xmlns:p14="http://schemas.microsoft.com/office/powerpoint/2010/main" val="2979595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fontScale="90000"/>
          </a:bodyPr>
          <a:lstStyle/>
          <a:p>
            <a:pPr lvl="0"/>
            <a:r>
              <a:rPr lang="en-GB" dirty="0"/>
              <a:t>Which donors and implementation partners will you focus on and why?</a:t>
            </a:r>
            <a:br>
              <a:rPr lang="en-US" dirty="0"/>
            </a:br>
            <a:endParaRPr lang="en-US" dirty="0"/>
          </a:p>
        </p:txBody>
      </p:sp>
      <p:graphicFrame>
        <p:nvGraphicFramePr>
          <p:cNvPr id="9" name="Content Placeholder 8"/>
          <p:cNvGraphicFramePr>
            <a:graphicFrameLocks noGrp="1"/>
          </p:cNvGraphicFramePr>
          <p:nvPr>
            <p:ph sz="half" idx="1"/>
            <p:extLst>
              <p:ext uri="{D42A27DB-BD31-4B8C-83A1-F6EECF244321}">
                <p14:modId xmlns:p14="http://schemas.microsoft.com/office/powerpoint/2010/main" val="1502756759"/>
              </p:ext>
            </p:extLst>
          </p:nvPr>
        </p:nvGraphicFramePr>
        <p:xfrm>
          <a:off x="466725" y="2019300"/>
          <a:ext cx="5387976" cy="4749800"/>
        </p:xfrm>
        <a:graphic>
          <a:graphicData uri="http://schemas.openxmlformats.org/drawingml/2006/table">
            <a:tbl>
              <a:tblPr firstRow="1" bandRow="1">
                <a:tableStyleId>{5C22544A-7EE6-4342-B048-85BDC9FD1C3A}</a:tableStyleId>
              </a:tblPr>
              <a:tblGrid>
                <a:gridCol w="2693988">
                  <a:extLst>
                    <a:ext uri="{9D8B030D-6E8A-4147-A177-3AD203B41FA5}">
                      <a16:colId xmlns:a16="http://schemas.microsoft.com/office/drawing/2014/main" val="20000"/>
                    </a:ext>
                  </a:extLst>
                </a:gridCol>
                <a:gridCol w="2693988">
                  <a:extLst>
                    <a:ext uri="{9D8B030D-6E8A-4147-A177-3AD203B41FA5}">
                      <a16:colId xmlns:a16="http://schemas.microsoft.com/office/drawing/2014/main" val="20001"/>
                    </a:ext>
                  </a:extLst>
                </a:gridCol>
              </a:tblGrid>
              <a:tr h="708468">
                <a:tc gridSpan="2">
                  <a:txBody>
                    <a:bodyPr/>
                    <a:lstStyle/>
                    <a:p>
                      <a:r>
                        <a:rPr lang="en-US" sz="2000" b="0" dirty="0"/>
                        <a:t>Key Donors</a:t>
                      </a:r>
                    </a:p>
                  </a:txBody>
                  <a:tcPr anchor="ctr"/>
                </a:tc>
                <a:tc hMerge="1">
                  <a:txBody>
                    <a:bodyPr/>
                    <a:lstStyle/>
                    <a:p>
                      <a:endParaRPr lang="en-US" dirty="0"/>
                    </a:p>
                  </a:txBody>
                  <a:tcPr/>
                </a:tc>
                <a:extLst>
                  <a:ext uri="{0D108BD9-81ED-4DB2-BD59-A6C34878D82A}">
                    <a16:rowId xmlns:a16="http://schemas.microsoft.com/office/drawing/2014/main" val="10000"/>
                  </a:ext>
                </a:extLst>
              </a:tr>
              <a:tr h="4041332">
                <a:tc>
                  <a:txBody>
                    <a:bodyPr/>
                    <a:lstStyle/>
                    <a:p>
                      <a:endParaRPr lang="en-US" dirty="0"/>
                    </a:p>
                    <a:p>
                      <a:r>
                        <a:rPr lang="en-US" dirty="0"/>
                        <a:t>USAID, USG, CDC</a:t>
                      </a:r>
                    </a:p>
                    <a:p>
                      <a:endParaRPr lang="en-US" dirty="0"/>
                    </a:p>
                    <a:p>
                      <a:r>
                        <a:rPr lang="en-US" dirty="0"/>
                        <a:t>UK AID</a:t>
                      </a:r>
                    </a:p>
                    <a:p>
                      <a:endParaRPr lang="en-US" dirty="0"/>
                    </a:p>
                    <a:p>
                      <a:r>
                        <a:rPr lang="en-US" dirty="0"/>
                        <a:t>EU</a:t>
                      </a:r>
                    </a:p>
                    <a:p>
                      <a:endParaRPr lang="en-US" dirty="0"/>
                    </a:p>
                    <a:p>
                      <a:r>
                        <a:rPr lang="en-US" dirty="0"/>
                        <a:t>World Bank</a:t>
                      </a:r>
                    </a:p>
                    <a:p>
                      <a:endParaRPr lang="en-US" dirty="0"/>
                    </a:p>
                    <a:p>
                      <a:r>
                        <a:rPr lang="en-US" sz="1800" kern="1200" dirty="0">
                          <a:solidFill>
                            <a:schemeClr val="dk1"/>
                          </a:solidFill>
                          <a:effectLst/>
                          <a:latin typeface="+mn-lt"/>
                          <a:ea typeface="+mn-ea"/>
                          <a:cs typeface="+mn-cs"/>
                        </a:rPr>
                        <a:t>GIZ, </a:t>
                      </a:r>
                    </a:p>
                    <a:p>
                      <a:endParaRPr lang="en-US"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KfW</a:t>
                      </a:r>
                      <a:r>
                        <a:rPr lang="en-US" dirty="0">
                          <a:effectLst/>
                        </a:rPr>
                        <a:t> </a:t>
                      </a:r>
                    </a:p>
                    <a:p>
                      <a:endParaRPr lang="en-US" dirty="0">
                        <a:effectLs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GAVI</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United Nations Agencies (23 agencies in Nigeria)</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Global Fund</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African Development Bank (ADB)</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OECD</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Bill &amp; Melinda Gates Foundation</a:t>
                      </a: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txBody>
                  <a:tcPr/>
                </a:tc>
                <a:extLst>
                  <a:ext uri="{0D108BD9-81ED-4DB2-BD59-A6C34878D82A}">
                    <a16:rowId xmlns:a16="http://schemas.microsoft.com/office/drawing/2014/main" val="10001"/>
                  </a:ext>
                </a:extLst>
              </a:tr>
            </a:tbl>
          </a:graphicData>
        </a:graphic>
      </p:graphicFrame>
      <p:graphicFrame>
        <p:nvGraphicFramePr>
          <p:cNvPr id="7" name="Content Placeholder 6"/>
          <p:cNvGraphicFramePr>
            <a:graphicFrameLocks noGrp="1"/>
          </p:cNvGraphicFramePr>
          <p:nvPr>
            <p:ph sz="half" idx="2"/>
            <p:extLst>
              <p:ext uri="{D42A27DB-BD31-4B8C-83A1-F6EECF244321}">
                <p14:modId xmlns:p14="http://schemas.microsoft.com/office/powerpoint/2010/main" val="3239784059"/>
              </p:ext>
            </p:extLst>
          </p:nvPr>
        </p:nvGraphicFramePr>
        <p:xfrm>
          <a:off x="6172198" y="2025226"/>
          <a:ext cx="5613402" cy="4741334"/>
        </p:xfrm>
        <a:graphic>
          <a:graphicData uri="http://schemas.openxmlformats.org/drawingml/2006/table">
            <a:tbl>
              <a:tblPr firstRow="1" bandRow="1">
                <a:tableStyleId>{5C22544A-7EE6-4342-B048-85BDC9FD1C3A}</a:tableStyleId>
              </a:tblPr>
              <a:tblGrid>
                <a:gridCol w="1303587">
                  <a:extLst>
                    <a:ext uri="{9D8B030D-6E8A-4147-A177-3AD203B41FA5}">
                      <a16:colId xmlns:a16="http://schemas.microsoft.com/office/drawing/2014/main" val="20000"/>
                    </a:ext>
                  </a:extLst>
                </a:gridCol>
                <a:gridCol w="4309815">
                  <a:extLst>
                    <a:ext uri="{9D8B030D-6E8A-4147-A177-3AD203B41FA5}">
                      <a16:colId xmlns:a16="http://schemas.microsoft.com/office/drawing/2014/main" val="20001"/>
                    </a:ext>
                  </a:extLst>
                </a:gridCol>
              </a:tblGrid>
              <a:tr h="683683">
                <a:tc gridSpan="2">
                  <a:txBody>
                    <a:bodyPr/>
                    <a:lstStyle/>
                    <a:p>
                      <a:r>
                        <a:rPr lang="en-US" b="0" dirty="0"/>
                        <a:t>Implementing Partners: NGOs, Foundations, Government</a:t>
                      </a:r>
                      <a:r>
                        <a:rPr lang="en-US" b="0" baseline="0" dirty="0"/>
                        <a:t> (State &amp; Federal) </a:t>
                      </a:r>
                      <a:r>
                        <a:rPr lang="en-US" b="0" dirty="0"/>
                        <a:t>and the</a:t>
                      </a:r>
                      <a:r>
                        <a:rPr lang="en-US" b="0" baseline="0" dirty="0"/>
                        <a:t> Private Sector</a:t>
                      </a:r>
                      <a:endParaRPr lang="en-US" b="0" dirty="0"/>
                    </a:p>
                  </a:txBody>
                  <a:tcPr anchor="ctr"/>
                </a:tc>
                <a:tc hMerge="1">
                  <a:txBody>
                    <a:bodyPr/>
                    <a:lstStyle/>
                    <a:p>
                      <a:endParaRPr lang="en-US" dirty="0"/>
                    </a:p>
                  </a:txBody>
                  <a:tcPr/>
                </a:tc>
                <a:extLst>
                  <a:ext uri="{0D108BD9-81ED-4DB2-BD59-A6C34878D82A}">
                    <a16:rowId xmlns:a16="http://schemas.microsoft.com/office/drawing/2014/main" val="10000"/>
                  </a:ext>
                </a:extLst>
              </a:tr>
              <a:tr h="1189991">
                <a:tc>
                  <a:txBody>
                    <a:bodyPr/>
                    <a:lstStyle/>
                    <a:p>
                      <a:r>
                        <a:rPr lang="en-US" dirty="0"/>
                        <a:t>Livelihoods</a:t>
                      </a: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Microsoft, Dangote</a:t>
                      </a:r>
                      <a:r>
                        <a:rPr lang="en-US" baseline="0" dirty="0"/>
                        <a:t> Foundation,  Toni Olumelu Foundation, </a:t>
                      </a:r>
                      <a:r>
                        <a:rPr lang="en-US" dirty="0"/>
                        <a:t>Ecco Bank, Microfinance Institutions, </a:t>
                      </a:r>
                      <a:r>
                        <a:rPr lang="en-US" baseline="0" dirty="0"/>
                        <a:t>Agribusinesses e.g. </a:t>
                      </a:r>
                      <a:r>
                        <a:rPr lang="en-US" dirty="0"/>
                        <a:t>Nestle, MARs, Rainforest Alliance,</a:t>
                      </a:r>
                      <a:r>
                        <a:rPr lang="en-US" baseline="0" dirty="0"/>
                        <a:t> etc.</a:t>
                      </a:r>
                      <a:endParaRPr lang="en-US" dirty="0"/>
                    </a:p>
                  </a:txBody>
                  <a:tcPr/>
                </a:tc>
                <a:extLst>
                  <a:ext uri="{0D108BD9-81ED-4DB2-BD59-A6C34878D82A}">
                    <a16:rowId xmlns:a16="http://schemas.microsoft.com/office/drawing/2014/main" val="10001"/>
                  </a:ext>
                </a:extLst>
              </a:tr>
              <a:tr h="1130300">
                <a:tc>
                  <a:txBody>
                    <a:bodyPr/>
                    <a:lstStyle/>
                    <a:p>
                      <a:r>
                        <a:rPr lang="en-US" dirty="0"/>
                        <a:t>Health &amp; Education</a:t>
                      </a: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State</a:t>
                      </a:r>
                      <a:r>
                        <a:rPr lang="en-US" baseline="0" dirty="0"/>
                        <a:t> &amp; Federal Governments (all 36 states)</a:t>
                      </a:r>
                      <a:r>
                        <a:rPr lang="en-US" dirty="0"/>
                        <a:t>, Save the Children’s Fund, CARE, World</a:t>
                      </a:r>
                      <a:r>
                        <a:rPr lang="en-US" baseline="0" dirty="0"/>
                        <a:t> Vision, MedShare, Clinton Foundation</a:t>
                      </a:r>
                      <a:endParaRPr lang="en-US" dirty="0"/>
                    </a:p>
                  </a:txBody>
                  <a:tcPr/>
                </a:tc>
                <a:extLst>
                  <a:ext uri="{0D108BD9-81ED-4DB2-BD59-A6C34878D82A}">
                    <a16:rowId xmlns:a16="http://schemas.microsoft.com/office/drawing/2014/main" val="10002"/>
                  </a:ext>
                </a:extLst>
              </a:tr>
              <a:tr h="1140409">
                <a:tc>
                  <a:txBody>
                    <a:bodyPr/>
                    <a:lstStyle/>
                    <a:p>
                      <a:r>
                        <a:rPr lang="en-US" dirty="0"/>
                        <a:t>Disaster Relief &amp; Innovation</a:t>
                      </a: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Catholic</a:t>
                      </a:r>
                      <a:r>
                        <a:rPr lang="en-US" baseline="0" dirty="0"/>
                        <a:t> Relief Services, National Emergency Management Agency (NEMA), </a:t>
                      </a:r>
                      <a:r>
                        <a:rPr lang="en-US" sz="1800" kern="1200" dirty="0">
                          <a:solidFill>
                            <a:schemeClr val="dk1"/>
                          </a:solidFill>
                          <a:effectLst/>
                          <a:latin typeface="+mn-lt"/>
                          <a:ea typeface="+mn-ea"/>
                          <a:cs typeface="+mn-cs"/>
                        </a:rPr>
                        <a:t>Growth and Employment (GEM) Project, World Bank Group funded project implemented by Nigerian Federal Ministry of Industry, Trade and Investment (FMITI)</a:t>
                      </a:r>
                    </a:p>
                  </a:txBody>
                  <a:tcPr/>
                </a:tc>
                <a:extLst>
                  <a:ext uri="{0D108BD9-81ED-4DB2-BD59-A6C34878D82A}">
                    <a16:rowId xmlns:a16="http://schemas.microsoft.com/office/drawing/2014/main" val="10003"/>
                  </a:ext>
                </a:extLst>
              </a:tr>
            </a:tbl>
          </a:graphicData>
        </a:graphic>
      </p:graphicFrame>
      <p:sp>
        <p:nvSpPr>
          <p:cNvPr id="6" name="Slide Number Placeholder 5"/>
          <p:cNvSpPr>
            <a:spLocks noGrp="1"/>
          </p:cNvSpPr>
          <p:nvPr>
            <p:ph type="sldNum" sz="quarter" idx="12"/>
          </p:nvPr>
        </p:nvSpPr>
        <p:spPr/>
        <p:txBody>
          <a:bodyPr/>
          <a:lstStyle/>
          <a:p>
            <a:fld id="{D57F1E4F-1CFF-5643-939E-217C01CDF565}" type="slidenum">
              <a:rPr lang="en-US" smtClean="0"/>
              <a:pPr/>
              <a:t>4</a:t>
            </a:fld>
            <a:endParaRPr lang="en-US" dirty="0"/>
          </a:p>
        </p:txBody>
      </p:sp>
      <p:sp>
        <p:nvSpPr>
          <p:cNvPr id="13" name="Footer Placeholder 1"/>
          <p:cNvSpPr>
            <a:spLocks noGrp="1"/>
          </p:cNvSpPr>
          <p:nvPr>
            <p:ph type="ftr" sz="quarter" idx="11"/>
          </p:nvPr>
        </p:nvSpPr>
        <p:spPr>
          <a:xfrm>
            <a:off x="0" y="7010400"/>
            <a:ext cx="3279608" cy="365125"/>
          </a:xfrm>
        </p:spPr>
        <p:txBody>
          <a:bodyPr/>
          <a:lstStyle/>
          <a:p>
            <a:r>
              <a:rPr lang="en-US" dirty="0"/>
              <a:t>SARAH KAYONGO_ VSO_06052020</a:t>
            </a:r>
          </a:p>
        </p:txBody>
      </p:sp>
    </p:spTree>
    <p:extLst>
      <p:ext uri="{BB962C8B-B14F-4D97-AF65-F5344CB8AC3E}">
        <p14:creationId xmlns:p14="http://schemas.microsoft.com/office/powerpoint/2010/main" val="1470265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339892" y="6256611"/>
            <a:ext cx="3584408" cy="365125"/>
          </a:xfrm>
        </p:spPr>
        <p:txBody>
          <a:bodyPr/>
          <a:lstStyle/>
          <a:p>
            <a:r>
              <a:rPr lang="en-US" dirty="0"/>
              <a:t>SARAH KAYONGO_VSO_06052020</a:t>
            </a:r>
          </a:p>
        </p:txBody>
      </p:sp>
      <p:sp>
        <p:nvSpPr>
          <p:cNvPr id="3" name="Slide Number Placeholder 2"/>
          <p:cNvSpPr>
            <a:spLocks noGrp="1"/>
          </p:cNvSpPr>
          <p:nvPr>
            <p:ph type="sldNum" sz="quarter" idx="12"/>
          </p:nvPr>
        </p:nvSpPr>
        <p:spPr/>
        <p:txBody>
          <a:bodyPr/>
          <a:lstStyle/>
          <a:p>
            <a:fld id="{D57F1E4F-1CFF-5643-939E-217C01CDF565}" type="slidenum">
              <a:rPr lang="en-US" smtClean="0"/>
              <a:pPr/>
              <a:t>5</a:t>
            </a:fld>
            <a:endParaRPr lang="en-US" dirty="0"/>
          </a:p>
        </p:txBody>
      </p:sp>
      <p:sp>
        <p:nvSpPr>
          <p:cNvPr id="4" name="Rectangle 3"/>
          <p:cNvSpPr/>
          <p:nvPr/>
        </p:nvSpPr>
        <p:spPr>
          <a:xfrm>
            <a:off x="4089400" y="1969343"/>
            <a:ext cx="7607300" cy="4524316"/>
          </a:xfrm>
          <a:prstGeom prst="rect">
            <a:avLst/>
          </a:prstGeom>
        </p:spPr>
        <p:txBody>
          <a:bodyPr wrap="square">
            <a:spAutoFit/>
          </a:bodyPr>
          <a:lstStyle/>
          <a:p>
            <a:pPr marL="285750" lvl="0" indent="-285750">
              <a:buFont typeface="Arial"/>
              <a:buChar char="•"/>
            </a:pPr>
            <a:r>
              <a:rPr lang="en-US" dirty="0"/>
              <a:t>To deepen relationships with donor representatives on the ground. To seek ongoing advice on how to access funds, help with the proposal development and submission processes. </a:t>
            </a:r>
          </a:p>
          <a:p>
            <a:pPr lvl="0"/>
            <a:endParaRPr lang="en-US" dirty="0"/>
          </a:p>
          <a:p>
            <a:pPr marL="285750" lvl="0" indent="-285750">
              <a:buFont typeface="Arial"/>
              <a:buChar char="•"/>
            </a:pPr>
            <a:r>
              <a:rPr lang="en-US" dirty="0"/>
              <a:t>To share VSO’s strategy and other relevant information (assessment data, concepts) with donors on the ground, build awareness of  VSO’s capacity and ability to respond to new project funding. </a:t>
            </a:r>
          </a:p>
          <a:p>
            <a:pPr marL="285750" lvl="0" indent="-285750">
              <a:buFont typeface="Arial"/>
              <a:buChar char="•"/>
            </a:pPr>
            <a:endParaRPr lang="en-US" dirty="0"/>
          </a:p>
          <a:p>
            <a:pPr marL="285750" lvl="0" indent="-285750">
              <a:buFont typeface="Arial"/>
              <a:buChar char="•"/>
            </a:pPr>
            <a:r>
              <a:rPr lang="en-US" dirty="0"/>
              <a:t>Meetings to present VSO’s programme updates may be required.</a:t>
            </a:r>
          </a:p>
          <a:p>
            <a:pPr marL="285750" lvl="0" indent="-285750">
              <a:buFont typeface="Arial"/>
              <a:buChar char="•"/>
            </a:pPr>
            <a:endParaRPr lang="en-US" dirty="0"/>
          </a:p>
          <a:p>
            <a:pPr marL="285750" indent="-285750">
              <a:buFont typeface="Arial"/>
              <a:buChar char="•"/>
            </a:pPr>
            <a:r>
              <a:rPr lang="en-US" dirty="0"/>
              <a:t>To inquire and seek clarity on available funding fit - cycles/pipeline, including proposal requirements, funding amounts, submission deadlines, and likely phasing of funding rounds or new initiatives (e.g. USAID’s “Feed the Future).</a:t>
            </a:r>
          </a:p>
          <a:p>
            <a:endParaRPr lang="en-US" dirty="0"/>
          </a:p>
          <a:p>
            <a:pPr marL="285750" lvl="0" indent="-285750">
              <a:buFont typeface="Arial"/>
              <a:buChar char="•"/>
            </a:pPr>
            <a:r>
              <a:rPr lang="en-US" dirty="0"/>
              <a:t>NOTE: ECHO funding requires extra surveillance because they will often allocate initial funding within 48 hours. </a:t>
            </a:r>
          </a:p>
        </p:txBody>
      </p:sp>
      <p:sp>
        <p:nvSpPr>
          <p:cNvPr id="5" name="Rectangle 4"/>
          <p:cNvSpPr/>
          <p:nvPr/>
        </p:nvSpPr>
        <p:spPr>
          <a:xfrm>
            <a:off x="445631" y="1958919"/>
            <a:ext cx="1140738" cy="1314561"/>
          </a:xfrm>
          <a:prstGeom prst="rect">
            <a:avLst/>
          </a:prstGeom>
          <a:blipFill rotWithShape="1">
            <a:blip r:embed="rId2"/>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 name="Rectangle 5"/>
          <p:cNvSpPr/>
          <p:nvPr/>
        </p:nvSpPr>
        <p:spPr>
          <a:xfrm>
            <a:off x="2011308" y="1954460"/>
            <a:ext cx="1184384" cy="1247279"/>
          </a:xfrm>
          <a:prstGeom prst="rect">
            <a:avLst/>
          </a:prstGeom>
          <a:blipFill rotWithShape="1">
            <a:blip r:embed="rId3"/>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 name="Rectangle 6" descr="Branching Diagram"/>
          <p:cNvSpPr/>
          <p:nvPr/>
        </p:nvSpPr>
        <p:spPr>
          <a:xfrm>
            <a:off x="2878487" y="3808655"/>
            <a:ext cx="1177226" cy="1272691"/>
          </a:xfrm>
          <a:prstGeom prst="rect">
            <a:avLst/>
          </a:prstGeom>
          <a:blipFill rotWithShape="1">
            <a:blip r:embed="rId4"/>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pic>
        <p:nvPicPr>
          <p:cNvPr id="10" name="Picture 9"/>
          <p:cNvPicPr>
            <a:picLocks noChangeAspect="1"/>
          </p:cNvPicPr>
          <p:nvPr/>
        </p:nvPicPr>
        <p:blipFill>
          <a:blip r:embed="rId5"/>
          <a:stretch>
            <a:fillRect/>
          </a:stretch>
        </p:blipFill>
        <p:spPr>
          <a:xfrm>
            <a:off x="266700" y="3416300"/>
            <a:ext cx="2540000" cy="2540000"/>
          </a:xfrm>
          <a:prstGeom prst="rect">
            <a:avLst/>
          </a:prstGeom>
        </p:spPr>
      </p:pic>
      <p:sp>
        <p:nvSpPr>
          <p:cNvPr id="16" name="Title 15"/>
          <p:cNvSpPr>
            <a:spLocks noGrp="1"/>
          </p:cNvSpPr>
          <p:nvPr>
            <p:ph type="title"/>
          </p:nvPr>
        </p:nvSpPr>
        <p:spPr>
          <a:xfrm>
            <a:off x="575894" y="-3298767"/>
            <a:ext cx="11029616" cy="5016757"/>
          </a:xfrm>
          <a:prstGeom prst="rect">
            <a:avLst/>
          </a:prstGeom>
        </p:spPr>
        <p:txBody>
          <a:bodyPr wrap="square" anchor="b">
            <a:spAutoFit/>
          </a:bodyPr>
          <a:lstStyle/>
          <a:p>
            <a:endParaRPr lang="en-GB" sz="2000" dirty="0"/>
          </a:p>
          <a:p>
            <a:endParaRPr lang="en-GB" sz="2000" dirty="0"/>
          </a:p>
          <a:p>
            <a:endParaRPr lang="en-GB" sz="2000" dirty="0"/>
          </a:p>
          <a:p>
            <a:endParaRPr lang="en-GB" sz="2000" dirty="0"/>
          </a:p>
          <a:p>
            <a:endParaRPr lang="en-GB" sz="2400" dirty="0"/>
          </a:p>
          <a:p>
            <a:endParaRPr lang="en-GB" sz="2400" dirty="0"/>
          </a:p>
          <a:p>
            <a:br>
              <a:rPr lang="en-GB" sz="2400" dirty="0"/>
            </a:br>
            <a:br>
              <a:rPr lang="en-GB" sz="2400" dirty="0"/>
            </a:br>
            <a:br>
              <a:rPr lang="en-GB" sz="2400" dirty="0"/>
            </a:br>
            <a:br>
              <a:rPr lang="en-GB" sz="2400" dirty="0"/>
            </a:br>
            <a:br>
              <a:rPr lang="en-GB" sz="2400" dirty="0"/>
            </a:br>
            <a:r>
              <a:rPr lang="en-GB" sz="2400" dirty="0"/>
              <a:t>Which donors and implementation partners will you focus on and </a:t>
            </a:r>
            <a:r>
              <a:rPr lang="en-GB" sz="2400" b="1" dirty="0"/>
              <a:t>why? </a:t>
            </a:r>
            <a:r>
              <a:rPr lang="en-GB" sz="2400" dirty="0"/>
              <a:t>Cont.</a:t>
            </a:r>
            <a:br>
              <a:rPr lang="en-US" sz="2400" dirty="0"/>
            </a:br>
            <a:r>
              <a:rPr lang="en-US" sz="2400" b="1" dirty="0"/>
              <a:t> </a:t>
            </a:r>
          </a:p>
        </p:txBody>
      </p:sp>
    </p:spTree>
    <p:extLst>
      <p:ext uri="{BB962C8B-B14F-4D97-AF65-F5344CB8AC3E}">
        <p14:creationId xmlns:p14="http://schemas.microsoft.com/office/powerpoint/2010/main" val="3408016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normAutofit/>
          </a:bodyPr>
          <a:lstStyle/>
          <a:p>
            <a:pPr>
              <a:spcAft>
                <a:spcPts val="600"/>
              </a:spcAft>
            </a:pPr>
            <a:fld id="{D57F1E4F-1CFF-5643-939E-217C01CDF565}" type="slidenum">
              <a:rPr lang="en-US" smtClean="0"/>
              <a:pPr>
                <a:spcAft>
                  <a:spcPts val="600"/>
                </a:spcAft>
              </a:pPr>
              <a:t>6</a:t>
            </a:fld>
            <a:endParaRPr lang="en-US" dirty="0"/>
          </a:p>
        </p:txBody>
      </p:sp>
      <p:sp>
        <p:nvSpPr>
          <p:cNvPr id="2" name="Title 1"/>
          <p:cNvSpPr>
            <a:spLocks noGrp="1"/>
          </p:cNvSpPr>
          <p:nvPr>
            <p:ph type="title" idx="4294967295"/>
          </p:nvPr>
        </p:nvSpPr>
        <p:spPr>
          <a:xfrm>
            <a:off x="5549900" y="701675"/>
            <a:ext cx="5480050" cy="5140325"/>
          </a:xfrm>
        </p:spPr>
        <p:txBody>
          <a:bodyPr>
            <a:normAutofit/>
          </a:bodyPr>
          <a:lstStyle/>
          <a:p>
            <a:r>
              <a:rPr lang="en-US" dirty="0"/>
              <a:t>Recommendations</a:t>
            </a:r>
          </a:p>
        </p:txBody>
      </p:sp>
      <p:sp>
        <p:nvSpPr>
          <p:cNvPr id="8" name="Content Placeholder 2">
            <a:extLst>
              <a:ext uri="{FF2B5EF4-FFF2-40B4-BE49-F238E27FC236}">
                <a16:creationId xmlns:a16="http://schemas.microsoft.com/office/drawing/2014/main" id="{86CB7111-334C-45F6-BE3E-A1BFD71BA4E3}"/>
              </a:ext>
            </a:extLst>
          </p:cNvPr>
          <p:cNvSpPr>
            <a:spLocks noGrp="1"/>
          </p:cNvSpPr>
          <p:nvPr>
            <p:ph idx="4294967295"/>
          </p:nvPr>
        </p:nvSpPr>
        <p:spPr>
          <a:xfrm>
            <a:off x="5054600" y="609600"/>
            <a:ext cx="6858000" cy="6248400"/>
          </a:xfrm>
        </p:spPr>
        <p:txBody>
          <a:bodyPr>
            <a:normAutofit/>
          </a:bodyPr>
          <a:lstStyle/>
          <a:p>
            <a:pPr marL="0" indent="0">
              <a:lnSpc>
                <a:spcPct val="90000"/>
              </a:lnSpc>
              <a:buNone/>
            </a:pPr>
            <a:endParaRPr lang="en-US" sz="2000" dirty="0"/>
          </a:p>
          <a:p>
            <a:pPr>
              <a:lnSpc>
                <a:spcPct val="90000"/>
              </a:lnSpc>
            </a:pPr>
            <a:r>
              <a:rPr lang="en-US" sz="2200" dirty="0">
                <a:solidFill>
                  <a:schemeClr val="tx1"/>
                </a:solidFill>
              </a:rPr>
              <a:t>While Nigeria’s GDP is close to $600 billion and it has the world’s 10th largest oil reserves, unfortunately, the economic fallout from Covid19 and subsequent drop in oil prices spell uncertainty for the country. </a:t>
            </a:r>
            <a:r>
              <a:rPr lang="en-US" sz="2200" dirty="0">
                <a:solidFill>
                  <a:schemeClr val="tx1"/>
                </a:solidFill>
                <a:hlinkClick r:id="rId3"/>
              </a:rPr>
              <a:t>https://www.statista.com/statistics/gross-domestic-product-gdp-growth-rate-in-nigeria/</a:t>
            </a:r>
            <a:endParaRPr lang="en-US" sz="2200" dirty="0">
              <a:solidFill>
                <a:schemeClr val="tx1"/>
              </a:solidFill>
            </a:endParaRPr>
          </a:p>
          <a:p>
            <a:pPr>
              <a:lnSpc>
                <a:spcPct val="90000"/>
              </a:lnSpc>
            </a:pPr>
            <a:r>
              <a:rPr lang="en-US" sz="2200" dirty="0">
                <a:solidFill>
                  <a:schemeClr val="tx1"/>
                </a:solidFill>
              </a:rPr>
              <a:t>With a burgeoning population of 178 million, wide income inequalities, and civil war in the N/E part of country, close to 78 million people live in poverty. </a:t>
            </a:r>
          </a:p>
          <a:p>
            <a:pPr>
              <a:lnSpc>
                <a:spcPct val="90000"/>
              </a:lnSpc>
            </a:pPr>
            <a:r>
              <a:rPr lang="en-US" sz="2200" dirty="0">
                <a:solidFill>
                  <a:schemeClr val="tx1"/>
                </a:solidFill>
              </a:rPr>
              <a:t>Government efforts are underway to diversify the economy and reduce the overdependence on oil revenue by investing in agriculture. These plans are expected to provide youth employment, reduce food insecurities and improve nutrition.</a:t>
            </a:r>
          </a:p>
          <a:p>
            <a:pPr>
              <a:lnSpc>
                <a:spcPct val="90000"/>
              </a:lnSpc>
            </a:pPr>
            <a:r>
              <a:rPr lang="en-GB" sz="2200" dirty="0">
                <a:solidFill>
                  <a:schemeClr val="tx1"/>
                </a:solidFill>
              </a:rPr>
              <a:t>Hence, government is a viable partner for VSO’s livelihoods programs. </a:t>
            </a:r>
          </a:p>
          <a:p>
            <a:pPr>
              <a:lnSpc>
                <a:spcPct val="90000"/>
              </a:lnSpc>
            </a:pPr>
            <a:endParaRPr lang="en-US" sz="2000" dirty="0">
              <a:latin typeface="+mn-lt"/>
            </a:endParaRPr>
          </a:p>
        </p:txBody>
      </p:sp>
      <p:sp>
        <p:nvSpPr>
          <p:cNvPr id="12" name="Content Placeholder 2">
            <a:extLst>
              <a:ext uri="{FF2B5EF4-FFF2-40B4-BE49-F238E27FC236}">
                <a16:creationId xmlns:a16="http://schemas.microsoft.com/office/drawing/2014/main" id="{86CB7111-334C-45F6-BE3E-A1BFD71BA4E3}"/>
              </a:ext>
            </a:extLst>
          </p:cNvPr>
          <p:cNvSpPr txBox="1">
            <a:spLocks/>
          </p:cNvSpPr>
          <p:nvPr/>
        </p:nvSpPr>
        <p:spPr>
          <a:xfrm>
            <a:off x="454025" y="571501"/>
            <a:ext cx="5464175" cy="5689600"/>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nSpc>
                <a:spcPct val="90000"/>
              </a:lnSpc>
              <a:buNone/>
            </a:pPr>
            <a:endParaRPr lang="en-US" sz="2000" dirty="0"/>
          </a:p>
          <a:p>
            <a:pPr>
              <a:lnSpc>
                <a:spcPct val="90000"/>
              </a:lnSpc>
            </a:pPr>
            <a:endParaRPr lang="en-US" sz="2000" dirty="0"/>
          </a:p>
          <a:p>
            <a:pPr>
              <a:lnSpc>
                <a:spcPct val="90000"/>
              </a:lnSpc>
            </a:pPr>
            <a:endParaRPr lang="en-US" sz="2000" dirty="0"/>
          </a:p>
        </p:txBody>
      </p:sp>
      <p:sp>
        <p:nvSpPr>
          <p:cNvPr id="13" name="Content Placeholder 2">
            <a:extLst>
              <a:ext uri="{FF2B5EF4-FFF2-40B4-BE49-F238E27FC236}">
                <a16:creationId xmlns:a16="http://schemas.microsoft.com/office/drawing/2014/main" id="{86CB7111-334C-45F6-BE3E-A1BFD71BA4E3}"/>
              </a:ext>
            </a:extLst>
          </p:cNvPr>
          <p:cNvSpPr txBox="1">
            <a:spLocks/>
          </p:cNvSpPr>
          <p:nvPr/>
        </p:nvSpPr>
        <p:spPr>
          <a:xfrm>
            <a:off x="482600" y="1498600"/>
            <a:ext cx="4330700" cy="3987800"/>
          </a:xfrm>
          <a:prstGeom prst="rect">
            <a:avLst/>
          </a:prstGeom>
        </p:spPr>
        <p:style>
          <a:lnRef idx="1">
            <a:schemeClr val="accent5"/>
          </a:lnRef>
          <a:fillRef idx="2">
            <a:schemeClr val="accent5"/>
          </a:fillRef>
          <a:effectRef idx="1">
            <a:schemeClr val="accent5"/>
          </a:effectRef>
          <a:fontRef idx="minor">
            <a:schemeClr val="dk1"/>
          </a:fontRef>
        </p:style>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nSpc>
                <a:spcPct val="90000"/>
              </a:lnSpc>
              <a:buNone/>
            </a:pPr>
            <a:endParaRPr lang="en-US" sz="2000" dirty="0"/>
          </a:p>
          <a:p>
            <a:pPr>
              <a:lnSpc>
                <a:spcPct val="90000"/>
              </a:lnSpc>
            </a:pPr>
            <a:endParaRPr lang="en-US" sz="2000" dirty="0"/>
          </a:p>
          <a:p>
            <a:pPr>
              <a:lnSpc>
                <a:spcPct val="90000"/>
              </a:lnSpc>
            </a:pPr>
            <a:endParaRPr lang="en-US" sz="2000" dirty="0"/>
          </a:p>
        </p:txBody>
      </p:sp>
      <p:sp>
        <p:nvSpPr>
          <p:cNvPr id="10" name="Rectangle 9"/>
          <p:cNvSpPr/>
          <p:nvPr/>
        </p:nvSpPr>
        <p:spPr>
          <a:xfrm>
            <a:off x="990600" y="1905000"/>
            <a:ext cx="3378200" cy="30734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Theoretical Advance</a:t>
            </a:r>
          </a:p>
        </p:txBody>
      </p:sp>
      <p:sp>
        <p:nvSpPr>
          <p:cNvPr id="9" name="Content Placeholder 2"/>
          <p:cNvSpPr txBox="1">
            <a:spLocks/>
          </p:cNvSpPr>
          <p:nvPr/>
        </p:nvSpPr>
        <p:spPr>
          <a:xfrm>
            <a:off x="5086350" y="571500"/>
            <a:ext cx="7105650" cy="5702300"/>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a:lnSpc>
                <a:spcPct val="90000"/>
              </a:lnSpc>
            </a:pPr>
            <a:endParaRPr lang="en-US" sz="2000" dirty="0"/>
          </a:p>
          <a:p>
            <a:endParaRPr lang="en-US" sz="2000" dirty="0"/>
          </a:p>
          <a:p>
            <a:pPr marL="0" indent="0">
              <a:lnSpc>
                <a:spcPct val="90000"/>
              </a:lnSpc>
              <a:buFont typeface="Wingdings 2" panose="05020102010507070707" pitchFamily="18" charset="2"/>
              <a:buNone/>
            </a:pPr>
            <a:endParaRPr lang="en-US" sz="2000" dirty="0"/>
          </a:p>
          <a:p>
            <a:pPr marL="0" indent="0">
              <a:lnSpc>
                <a:spcPct val="90000"/>
              </a:lnSpc>
              <a:buFont typeface="Wingdings 2" panose="05020102010507070707" pitchFamily="18" charset="2"/>
              <a:buNone/>
            </a:pPr>
            <a:endParaRPr lang="en-US" sz="2000" dirty="0"/>
          </a:p>
          <a:p>
            <a:pPr marL="0" indent="0">
              <a:lnSpc>
                <a:spcPct val="90000"/>
              </a:lnSpc>
              <a:buFont typeface="Wingdings 2" panose="05020102010507070707" pitchFamily="18" charset="2"/>
              <a:buNone/>
            </a:pPr>
            <a:endParaRPr lang="en-US" sz="2000" dirty="0"/>
          </a:p>
        </p:txBody>
      </p:sp>
      <p:sp>
        <p:nvSpPr>
          <p:cNvPr id="11" name="Content Placeholder 2"/>
          <p:cNvSpPr txBox="1">
            <a:spLocks/>
          </p:cNvSpPr>
          <p:nvPr/>
        </p:nvSpPr>
        <p:spPr>
          <a:xfrm>
            <a:off x="5041900" y="723900"/>
            <a:ext cx="7302500" cy="5702300"/>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a:lnSpc>
                <a:spcPct val="90000"/>
              </a:lnSpc>
            </a:pPr>
            <a:endParaRPr lang="en-US" sz="2000" dirty="0"/>
          </a:p>
          <a:p>
            <a:endParaRPr lang="en-US" sz="2000" dirty="0"/>
          </a:p>
          <a:p>
            <a:pPr marL="0" indent="0">
              <a:lnSpc>
                <a:spcPct val="90000"/>
              </a:lnSpc>
              <a:buFont typeface="Wingdings 2" panose="05020102010507070707" pitchFamily="18" charset="2"/>
              <a:buNone/>
            </a:pPr>
            <a:endParaRPr lang="en-US" sz="2000" dirty="0"/>
          </a:p>
          <a:p>
            <a:pPr marL="0" indent="0">
              <a:lnSpc>
                <a:spcPct val="90000"/>
              </a:lnSpc>
              <a:buFont typeface="Wingdings 2" panose="05020102010507070707" pitchFamily="18" charset="2"/>
              <a:buNone/>
            </a:pPr>
            <a:endParaRPr lang="en-US" sz="2000" dirty="0"/>
          </a:p>
          <a:p>
            <a:pPr marL="0" indent="0">
              <a:lnSpc>
                <a:spcPct val="90000"/>
              </a:lnSpc>
              <a:buFont typeface="Wingdings 2" panose="05020102010507070707" pitchFamily="18" charset="2"/>
              <a:buNone/>
            </a:pPr>
            <a:endParaRPr lang="en-US" sz="2000" dirty="0"/>
          </a:p>
        </p:txBody>
      </p:sp>
      <p:sp>
        <p:nvSpPr>
          <p:cNvPr id="14" name="Rectangle 13"/>
          <p:cNvSpPr/>
          <p:nvPr/>
        </p:nvSpPr>
        <p:spPr>
          <a:xfrm>
            <a:off x="965200" y="1917700"/>
            <a:ext cx="3390900" cy="30734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t>Partners</a:t>
            </a:r>
          </a:p>
          <a:p>
            <a:pPr algn="ctr"/>
            <a:endParaRPr lang="en-US" sz="2400" b="1" dirty="0"/>
          </a:p>
          <a:p>
            <a:pPr algn="ctr"/>
            <a:r>
              <a:rPr lang="en-US" sz="2400" b="1" dirty="0"/>
              <a:t>Government, NGOs</a:t>
            </a:r>
          </a:p>
        </p:txBody>
      </p:sp>
      <p:sp>
        <p:nvSpPr>
          <p:cNvPr id="16" name="Rectangle 15"/>
          <p:cNvSpPr/>
          <p:nvPr/>
        </p:nvSpPr>
        <p:spPr>
          <a:xfrm>
            <a:off x="508000" y="50800"/>
            <a:ext cx="11277600" cy="830997"/>
          </a:xfrm>
          <a:prstGeom prst="rect">
            <a:avLst/>
          </a:prstGeom>
        </p:spPr>
        <p:txBody>
          <a:bodyPr wrap="square">
            <a:spAutoFit/>
          </a:bodyPr>
          <a:lstStyle/>
          <a:p>
            <a:r>
              <a:rPr lang="en-US" sz="2400" dirty="0"/>
              <a:t>Which donors and implementation partners will you focus on and </a:t>
            </a:r>
            <a:r>
              <a:rPr lang="en-US" sz="2400" b="1" dirty="0"/>
              <a:t>why?</a:t>
            </a:r>
            <a:r>
              <a:rPr lang="en-US" sz="2400" dirty="0"/>
              <a:t> Cont.</a:t>
            </a:r>
          </a:p>
          <a:p>
            <a:r>
              <a:rPr lang="en-US" sz="2400" dirty="0">
                <a:solidFill>
                  <a:srgbClr val="000000"/>
                </a:solidFill>
                <a:latin typeface="+mj-lt"/>
              </a:rPr>
              <a:t> </a:t>
            </a:r>
          </a:p>
        </p:txBody>
      </p:sp>
      <p:sp>
        <p:nvSpPr>
          <p:cNvPr id="17" name="Footer Placeholder 1"/>
          <p:cNvSpPr>
            <a:spLocks noGrp="1"/>
          </p:cNvSpPr>
          <p:nvPr>
            <p:ph type="ftr" sz="quarter" idx="11"/>
          </p:nvPr>
        </p:nvSpPr>
        <p:spPr>
          <a:xfrm>
            <a:off x="568492" y="6332811"/>
            <a:ext cx="6917210" cy="365125"/>
          </a:xfrm>
        </p:spPr>
        <p:txBody>
          <a:bodyPr/>
          <a:lstStyle/>
          <a:p>
            <a:r>
              <a:rPr lang="en-US" dirty="0"/>
              <a:t>SARAH KAYONGO_VSO_06052020</a:t>
            </a:r>
          </a:p>
        </p:txBody>
      </p:sp>
    </p:spTree>
    <p:extLst>
      <p:ext uri="{BB962C8B-B14F-4D97-AF65-F5344CB8AC3E}">
        <p14:creationId xmlns:p14="http://schemas.microsoft.com/office/powerpoint/2010/main" val="3620008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7F1E4F-1CFF-5643-939E-217C01CDF565}" type="slidenum">
              <a:rPr lang="en-US" smtClean="0"/>
              <a:pPr/>
              <a:t>7</a:t>
            </a:fld>
            <a:endParaRPr lang="en-US" dirty="0"/>
          </a:p>
        </p:txBody>
      </p:sp>
      <p:sp>
        <p:nvSpPr>
          <p:cNvPr id="5" name="Content Placeholder 2">
            <a:extLst>
              <a:ext uri="{FF2B5EF4-FFF2-40B4-BE49-F238E27FC236}">
                <a16:creationId xmlns:a16="http://schemas.microsoft.com/office/drawing/2014/main" id="{86CB7111-334C-45F6-BE3E-A1BFD71BA4E3}"/>
              </a:ext>
            </a:extLst>
          </p:cNvPr>
          <p:cNvSpPr txBox="1">
            <a:spLocks/>
          </p:cNvSpPr>
          <p:nvPr/>
        </p:nvSpPr>
        <p:spPr>
          <a:xfrm>
            <a:off x="482600" y="1498600"/>
            <a:ext cx="4330700" cy="3987800"/>
          </a:xfrm>
          <a:prstGeom prst="rect">
            <a:avLst/>
          </a:prstGeom>
        </p:spPr>
        <p:style>
          <a:lnRef idx="3">
            <a:schemeClr val="lt1"/>
          </a:lnRef>
          <a:fillRef idx="1">
            <a:schemeClr val="accent2"/>
          </a:fillRef>
          <a:effectRef idx="1">
            <a:schemeClr val="accent2"/>
          </a:effectRef>
          <a:fontRef idx="minor">
            <a:schemeClr val="lt1"/>
          </a:fontRef>
        </p:style>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nSpc>
                <a:spcPct val="90000"/>
              </a:lnSpc>
              <a:buNone/>
            </a:pPr>
            <a:endParaRPr lang="en-US" sz="2000" dirty="0"/>
          </a:p>
          <a:p>
            <a:pPr>
              <a:lnSpc>
                <a:spcPct val="90000"/>
              </a:lnSpc>
            </a:pPr>
            <a:endParaRPr lang="en-US" sz="2000" dirty="0"/>
          </a:p>
          <a:p>
            <a:pPr>
              <a:lnSpc>
                <a:spcPct val="90000"/>
              </a:lnSpc>
            </a:pPr>
            <a:endParaRPr lang="en-US" sz="2000" dirty="0"/>
          </a:p>
        </p:txBody>
      </p:sp>
      <p:sp>
        <p:nvSpPr>
          <p:cNvPr id="6" name="Rectangle 5"/>
          <p:cNvSpPr/>
          <p:nvPr/>
        </p:nvSpPr>
        <p:spPr>
          <a:xfrm>
            <a:off x="965200" y="1917700"/>
            <a:ext cx="3390900" cy="30734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t>Partners</a:t>
            </a:r>
          </a:p>
          <a:p>
            <a:pPr algn="ctr"/>
            <a:endParaRPr lang="en-US" sz="2400" b="1" dirty="0"/>
          </a:p>
          <a:p>
            <a:pPr algn="ctr"/>
            <a:r>
              <a:rPr lang="en-US" sz="2400" b="1" dirty="0"/>
              <a:t>Corporations, Foundations, HNWi etc.</a:t>
            </a:r>
          </a:p>
        </p:txBody>
      </p:sp>
      <p:sp>
        <p:nvSpPr>
          <p:cNvPr id="7" name="Content Placeholder 2">
            <a:extLst>
              <a:ext uri="{FF2B5EF4-FFF2-40B4-BE49-F238E27FC236}">
                <a16:creationId xmlns:a16="http://schemas.microsoft.com/office/drawing/2014/main" id="{86CB7111-334C-45F6-BE3E-A1BFD71BA4E3}"/>
              </a:ext>
            </a:extLst>
          </p:cNvPr>
          <p:cNvSpPr txBox="1">
            <a:spLocks/>
          </p:cNvSpPr>
          <p:nvPr/>
        </p:nvSpPr>
        <p:spPr>
          <a:xfrm>
            <a:off x="5054600" y="609600"/>
            <a:ext cx="6858000" cy="6248400"/>
          </a:xfrm>
          <a:prstGeom prst="rect">
            <a:avLst/>
          </a:prstGeom>
        </p:spPr>
        <p:txBody>
          <a:bodyPr vert="horz" lIns="91440" tIns="45720" rIns="91440" bIns="45720" rtlCol="0" anchor="ctr">
            <a:normAutofit fontScale="92500" lnSpcReduction="2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nSpc>
                <a:spcPct val="90000"/>
              </a:lnSpc>
              <a:buFont typeface="Wingdings 2" panose="05020102010507070707" pitchFamily="18" charset="2"/>
              <a:buNone/>
            </a:pPr>
            <a:endParaRPr lang="en-US" sz="2000" dirty="0"/>
          </a:p>
          <a:p>
            <a:pPr>
              <a:lnSpc>
                <a:spcPct val="90000"/>
              </a:lnSpc>
            </a:pPr>
            <a:endParaRPr lang="en-US" sz="2200" dirty="0">
              <a:solidFill>
                <a:schemeClr val="tx1"/>
              </a:solidFill>
            </a:endParaRPr>
          </a:p>
          <a:p>
            <a:pPr>
              <a:lnSpc>
                <a:spcPct val="90000"/>
              </a:lnSpc>
            </a:pPr>
            <a:r>
              <a:rPr lang="en-US" sz="2200" dirty="0">
                <a:solidFill>
                  <a:schemeClr val="tx1"/>
                </a:solidFill>
              </a:rPr>
              <a:t>The oil &amp; Gas sector will be a viable partner for CSR activities either through direct project sponsorships, employee matching gifts, PPPs, or events sponsorships  </a:t>
            </a:r>
          </a:p>
          <a:p>
            <a:pPr>
              <a:lnSpc>
                <a:spcPct val="90000"/>
              </a:lnSpc>
            </a:pPr>
            <a:r>
              <a:rPr lang="en-US" sz="2200" dirty="0">
                <a:solidFill>
                  <a:schemeClr val="tx1"/>
                </a:solidFill>
              </a:rPr>
              <a:t>In January, 2020, Microsoft announced the “Carbon Negative” Campaign, the goal is for countries to plant one million trees. Partnering on such an initiative will create jobs for the youth, engage volunteers &amp; provide income.</a:t>
            </a:r>
            <a:r>
              <a:rPr lang="en-US" sz="2200" dirty="0">
                <a:solidFill>
                  <a:srgbClr val="FF0000"/>
                </a:solidFill>
              </a:rPr>
              <a:t> </a:t>
            </a:r>
            <a:r>
              <a:rPr lang="en-US" sz="2400" i="1" dirty="0">
                <a:solidFill>
                  <a:srgbClr val="3366FF"/>
                </a:solidFill>
                <a:hlinkClick r:id="rId2"/>
              </a:rPr>
              <a:t>a-healthy-society-requires-a-healthy-planet</a:t>
            </a:r>
            <a:endParaRPr lang="en-US" sz="2200" i="1" dirty="0">
              <a:solidFill>
                <a:srgbClr val="3366FF"/>
              </a:solidFill>
            </a:endParaRPr>
          </a:p>
          <a:p>
            <a:pPr>
              <a:lnSpc>
                <a:spcPct val="90000"/>
              </a:lnSpc>
            </a:pPr>
            <a:r>
              <a:rPr lang="en-US" sz="2200" dirty="0">
                <a:solidFill>
                  <a:srgbClr val="000000"/>
                </a:solidFill>
              </a:rPr>
              <a:t>Microsoft, IBM &amp; Google have innovation hubs in Nigeria, I’d pursue partnerships to leverage technology to scale VSO’s work across all programs e.g. e-volunteering, designing cloud- based apps for remote based staff/volunteers &amp; field workers to connect with farmers, education apps for the blind/deaf, children in refugee camps, skills training for youth and prisoners via mobile phones or radio programs and telehealth options with a network of healthcare providers.</a:t>
            </a:r>
          </a:p>
          <a:p>
            <a:pPr>
              <a:lnSpc>
                <a:spcPct val="90000"/>
              </a:lnSpc>
            </a:pPr>
            <a:r>
              <a:rPr lang="en-GB" sz="2200" dirty="0">
                <a:solidFill>
                  <a:schemeClr val="tx1"/>
                </a:solidFill>
              </a:rPr>
              <a:t>Nigeria is home to some of richest individuals and philanthropists in Africa e.g. Dangote and Tony Olumelu Foundations </a:t>
            </a:r>
            <a:r>
              <a:rPr lang="mr-IN" sz="2200" dirty="0">
                <a:solidFill>
                  <a:schemeClr val="tx1"/>
                </a:solidFill>
              </a:rPr>
              <a:t>–</a:t>
            </a:r>
            <a:r>
              <a:rPr lang="en-GB" sz="2200" dirty="0">
                <a:solidFill>
                  <a:schemeClr val="tx1"/>
                </a:solidFill>
              </a:rPr>
              <a:t> both fund health, education and other programs. </a:t>
            </a:r>
            <a:endParaRPr lang="en-US" sz="2000" dirty="0">
              <a:solidFill>
                <a:schemeClr val="tx1"/>
              </a:solidFill>
            </a:endParaRPr>
          </a:p>
          <a:p>
            <a:pPr>
              <a:lnSpc>
                <a:spcPct val="90000"/>
              </a:lnSpc>
            </a:pPr>
            <a:endParaRPr lang="en-US" sz="2000" dirty="0"/>
          </a:p>
          <a:p>
            <a:pPr>
              <a:lnSpc>
                <a:spcPct val="90000"/>
              </a:lnSpc>
            </a:pPr>
            <a:endParaRPr lang="en-US" sz="2000" dirty="0"/>
          </a:p>
        </p:txBody>
      </p:sp>
      <p:sp>
        <p:nvSpPr>
          <p:cNvPr id="8" name="Footer Placeholder 1"/>
          <p:cNvSpPr>
            <a:spLocks noGrp="1"/>
          </p:cNvSpPr>
          <p:nvPr>
            <p:ph type="ftr" sz="quarter" idx="11"/>
          </p:nvPr>
        </p:nvSpPr>
        <p:spPr>
          <a:xfrm>
            <a:off x="504992" y="6294711"/>
            <a:ext cx="6917210" cy="365125"/>
          </a:xfrm>
        </p:spPr>
        <p:txBody>
          <a:bodyPr/>
          <a:lstStyle/>
          <a:p>
            <a:r>
              <a:rPr lang="en-US" dirty="0"/>
              <a:t>SARAH KAYONGO_VSO_06052020</a:t>
            </a:r>
          </a:p>
        </p:txBody>
      </p:sp>
      <p:sp>
        <p:nvSpPr>
          <p:cNvPr id="9" name="Rectangle 8"/>
          <p:cNvSpPr/>
          <p:nvPr/>
        </p:nvSpPr>
        <p:spPr>
          <a:xfrm>
            <a:off x="508000" y="50800"/>
            <a:ext cx="11277600" cy="830997"/>
          </a:xfrm>
          <a:prstGeom prst="rect">
            <a:avLst/>
          </a:prstGeom>
        </p:spPr>
        <p:txBody>
          <a:bodyPr wrap="square">
            <a:spAutoFit/>
          </a:bodyPr>
          <a:lstStyle/>
          <a:p>
            <a:r>
              <a:rPr lang="en-US" sz="2400" dirty="0"/>
              <a:t>Which donors and implementation partners will you focus on and </a:t>
            </a:r>
            <a:r>
              <a:rPr lang="en-US" sz="2400" b="1" dirty="0"/>
              <a:t>why?</a:t>
            </a:r>
            <a:r>
              <a:rPr lang="en-US" sz="2400" dirty="0"/>
              <a:t> Cont.</a:t>
            </a:r>
          </a:p>
          <a:p>
            <a:r>
              <a:rPr lang="en-US" sz="2400" dirty="0">
                <a:solidFill>
                  <a:srgbClr val="000000"/>
                </a:solidFill>
                <a:latin typeface="+mj-lt"/>
              </a:rPr>
              <a:t> </a:t>
            </a:r>
          </a:p>
        </p:txBody>
      </p:sp>
    </p:spTree>
    <p:extLst>
      <p:ext uri="{BB962C8B-B14F-4D97-AF65-F5344CB8AC3E}">
        <p14:creationId xmlns:p14="http://schemas.microsoft.com/office/powerpoint/2010/main" val="2729297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9901" y="584201"/>
            <a:ext cx="11191708" cy="2374899"/>
          </a:xfrm>
        </p:spPr>
        <p:txBody>
          <a:bodyPr anchor="ct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smtClean="0"/>
              <a:pPr/>
              <a:t>8</a:t>
            </a:fld>
            <a:endParaRPr lang="en-US" dirty="0"/>
          </a:p>
        </p:txBody>
      </p:sp>
      <p:graphicFrame>
        <p:nvGraphicFramePr>
          <p:cNvPr id="10" name="Content Placeholder 2">
            <a:extLst>
              <a:ext uri="{FF2B5EF4-FFF2-40B4-BE49-F238E27FC236}">
                <a16:creationId xmlns:a16="http://schemas.microsoft.com/office/drawing/2014/main" id="{263F1511-2A42-46CA-9F17-D765EFC935A8}"/>
              </a:ext>
            </a:extLst>
          </p:cNvPr>
          <p:cNvGraphicFramePr>
            <a:graphicFrameLocks/>
          </p:cNvGraphicFramePr>
          <p:nvPr>
            <p:extLst>
              <p:ext uri="{D42A27DB-BD31-4B8C-83A1-F6EECF244321}">
                <p14:modId xmlns:p14="http://schemas.microsoft.com/office/powerpoint/2010/main" val="679736381"/>
              </p:ext>
            </p:extLst>
          </p:nvPr>
        </p:nvGraphicFramePr>
        <p:xfrm>
          <a:off x="1085012" y="3165475"/>
          <a:ext cx="9951287" cy="2025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rame 3"/>
          <p:cNvSpPr/>
          <p:nvPr/>
        </p:nvSpPr>
        <p:spPr>
          <a:xfrm>
            <a:off x="3822700" y="533400"/>
            <a:ext cx="4749800" cy="1524000"/>
          </a:xfrm>
          <a:prstGeom prst="fram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8" name="Footer Placeholder 1"/>
          <p:cNvSpPr txBox="1">
            <a:spLocks/>
          </p:cNvSpPr>
          <p:nvPr/>
        </p:nvSpPr>
        <p:spPr>
          <a:xfrm>
            <a:off x="466892" y="6492875"/>
            <a:ext cx="3279608"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SARAH KAYONGO_ VSO_06052020</a:t>
            </a:r>
          </a:p>
        </p:txBody>
      </p:sp>
      <p:sp>
        <p:nvSpPr>
          <p:cNvPr id="7" name="Rectangle 6"/>
          <p:cNvSpPr/>
          <p:nvPr/>
        </p:nvSpPr>
        <p:spPr>
          <a:xfrm>
            <a:off x="4165600" y="958334"/>
            <a:ext cx="4051300" cy="646331"/>
          </a:xfrm>
          <a:prstGeom prst="rect">
            <a:avLst/>
          </a:prstGeom>
        </p:spPr>
        <p:txBody>
          <a:bodyPr wrap="square" anchor="ctr">
            <a:spAutoFit/>
          </a:bodyPr>
          <a:lstStyle/>
          <a:p>
            <a:pPr algn="ctr"/>
            <a:r>
              <a:rPr lang="en-US" sz="3600" dirty="0"/>
              <a:t>QUESTION 2</a:t>
            </a:r>
          </a:p>
        </p:txBody>
      </p:sp>
    </p:spTree>
    <p:extLst>
      <p:ext uri="{BB962C8B-B14F-4D97-AF65-F5344CB8AC3E}">
        <p14:creationId xmlns:p14="http://schemas.microsoft.com/office/powerpoint/2010/main" val="2979595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3" y="793158"/>
            <a:ext cx="11029616" cy="988332"/>
          </a:xfrm>
        </p:spPr>
        <p:txBody>
          <a:bodyPr anchor="t">
            <a:noAutofit/>
          </a:bodyPr>
          <a:lstStyle/>
          <a:p>
            <a:pPr lvl="0"/>
            <a:r>
              <a:rPr lang="en-GB" sz="2000" dirty="0"/>
              <a:t>What top priority programme areas and opportunities do you feel will be critical for VSO in the country/region?</a:t>
            </a:r>
            <a:br>
              <a:rPr lang="en-US" sz="2000" dirty="0"/>
            </a:br>
            <a:r>
              <a:rPr lang="en-GB" sz="2000" dirty="0"/>
              <a:t> </a:t>
            </a:r>
            <a:br>
              <a:rPr lang="en-US" sz="2000" dirty="0"/>
            </a:br>
            <a:r>
              <a:rPr lang="en-US" sz="2000" dirty="0"/>
              <a:t>												</a:t>
            </a:r>
            <a:br>
              <a:rPr lang="en-US" sz="2000" dirty="0"/>
            </a:br>
            <a:br>
              <a:rPr lang="en-US" sz="2000" dirty="0"/>
            </a:br>
            <a:endParaRPr lang="en-US" sz="2000" dirty="0"/>
          </a:p>
        </p:txBody>
      </p:sp>
      <p:graphicFrame>
        <p:nvGraphicFramePr>
          <p:cNvPr id="8" name="Content Placeholder 7"/>
          <p:cNvGraphicFramePr>
            <a:graphicFrameLocks noGrp="1"/>
          </p:cNvGraphicFramePr>
          <p:nvPr>
            <p:ph sz="half" idx="1"/>
            <p:extLst>
              <p:ext uri="{D42A27DB-BD31-4B8C-83A1-F6EECF244321}">
                <p14:modId xmlns:p14="http://schemas.microsoft.com/office/powerpoint/2010/main" val="1168025062"/>
              </p:ext>
            </p:extLst>
          </p:nvPr>
        </p:nvGraphicFramePr>
        <p:xfrm>
          <a:off x="0" y="2159001"/>
          <a:ext cx="5956300" cy="3829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Content Placeholder 10"/>
          <p:cNvGraphicFramePr>
            <a:graphicFrameLocks noGrp="1"/>
          </p:cNvGraphicFramePr>
          <p:nvPr>
            <p:ph sz="half" idx="2"/>
            <p:extLst>
              <p:ext uri="{D42A27DB-BD31-4B8C-83A1-F6EECF244321}">
                <p14:modId xmlns:p14="http://schemas.microsoft.com/office/powerpoint/2010/main" val="2833417061"/>
              </p:ext>
            </p:extLst>
          </p:nvPr>
        </p:nvGraphicFramePr>
        <p:xfrm>
          <a:off x="6019800" y="1943099"/>
          <a:ext cx="5702300" cy="47963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Slide Number Placeholder 4"/>
          <p:cNvSpPr>
            <a:spLocks noGrp="1"/>
          </p:cNvSpPr>
          <p:nvPr>
            <p:ph type="sldNum" sz="quarter" idx="12"/>
          </p:nvPr>
        </p:nvSpPr>
        <p:spPr/>
        <p:txBody>
          <a:bodyPr/>
          <a:lstStyle/>
          <a:p>
            <a:fld id="{D57F1E4F-1CFF-5643-939E-217C01CDF565}" type="slidenum">
              <a:rPr lang="en-US" smtClean="0"/>
              <a:pPr/>
              <a:t>9</a:t>
            </a:fld>
            <a:endParaRPr lang="en-US" dirty="0"/>
          </a:p>
        </p:txBody>
      </p:sp>
      <p:sp>
        <p:nvSpPr>
          <p:cNvPr id="7" name="Footer Placeholder 1"/>
          <p:cNvSpPr>
            <a:spLocks noGrp="1"/>
          </p:cNvSpPr>
          <p:nvPr>
            <p:ph type="ftr" sz="quarter" idx="11"/>
          </p:nvPr>
        </p:nvSpPr>
        <p:spPr>
          <a:xfrm>
            <a:off x="568492" y="6492875"/>
            <a:ext cx="10950408" cy="365125"/>
          </a:xfrm>
        </p:spPr>
        <p:txBody>
          <a:bodyPr/>
          <a:lstStyle/>
          <a:p>
            <a:r>
              <a:rPr lang="en-US" dirty="0"/>
              <a:t>SARAH KAYONGO_VSO_06052020</a:t>
            </a:r>
          </a:p>
        </p:txBody>
      </p:sp>
      <p:sp>
        <p:nvSpPr>
          <p:cNvPr id="9" name="Footer Placeholder 1"/>
          <p:cNvSpPr txBox="1">
            <a:spLocks/>
          </p:cNvSpPr>
          <p:nvPr/>
        </p:nvSpPr>
        <p:spPr>
          <a:xfrm>
            <a:off x="3289300" y="5034224"/>
            <a:ext cx="2247342" cy="482321"/>
          </a:xfrm>
          <a:prstGeom prst="rect">
            <a:avLst/>
          </a:prstGeom>
        </p:spPr>
        <p:txBody>
          <a:bodyPr vert="horz" lIns="91440" tIns="45720" rIns="91440" bIns="45720" rtlCol="0" anchor="ctr"/>
          <a:lstStyle>
            <a:defPPr>
              <a:defRPr lang="en-US"/>
            </a:defPPr>
            <a:lvl1pPr marL="0" algn="l" defTabSz="457200" rtl="0" eaLnBrk="1" latinLnBrk="0" hangingPunct="1">
              <a:defRPr sz="900" kern="1200" cap="all">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b="1" dirty="0">
                <a:solidFill>
                  <a:srgbClr val="FF0000"/>
                </a:solidFill>
              </a:rPr>
              <a:t>*</a:t>
            </a:r>
            <a:r>
              <a:rPr lang="en-US" b="1" i="1" cap="none" dirty="0">
                <a:solidFill>
                  <a:schemeClr val="tx1"/>
                </a:solidFill>
              </a:rPr>
              <a:t>Cross cutting innovation across all programs  through strategic partnerships</a:t>
            </a:r>
            <a:endParaRPr lang="en-US" b="1" i="1" dirty="0">
              <a:solidFill>
                <a:schemeClr val="tx1"/>
              </a:solidFill>
            </a:endParaRPr>
          </a:p>
        </p:txBody>
      </p:sp>
    </p:spTree>
    <p:extLst>
      <p:ext uri="{BB962C8B-B14F-4D97-AF65-F5344CB8AC3E}">
        <p14:creationId xmlns:p14="http://schemas.microsoft.com/office/powerpoint/2010/main" val="713325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APtJ1d_VWCdqS73y2hlmw"/>
</p:tagLst>
</file>

<file path=ppt/theme/theme1.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M03457464[[fn=Dividend]]</Template>
  <TotalTime>35192</TotalTime>
  <Words>1983</Words>
  <Application>Microsoft Macintosh PowerPoint</Application>
  <PresentationFormat>Widescreen</PresentationFormat>
  <Paragraphs>253</Paragraphs>
  <Slides>1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Gill Sans</vt:lpstr>
      <vt:lpstr>Gill Sans MT</vt:lpstr>
      <vt:lpstr>Times New Roman</vt:lpstr>
      <vt:lpstr>Wingdings</vt:lpstr>
      <vt:lpstr>Wingdings 2</vt:lpstr>
      <vt:lpstr>Dividend</vt:lpstr>
      <vt:lpstr>think-cell Slide</vt:lpstr>
      <vt:lpstr>PowerPoint Presentation</vt:lpstr>
      <vt:lpstr>PowerPoint Presentation</vt:lpstr>
      <vt:lpstr> </vt:lpstr>
      <vt:lpstr>Which donors and implementation partners will you focus on and why? </vt:lpstr>
      <vt:lpstr>           Which donors and implementation partners will you focus on and why? Cont.  </vt:lpstr>
      <vt:lpstr>Recommendations</vt:lpstr>
      <vt:lpstr>PowerPoint Presentation</vt:lpstr>
      <vt:lpstr>  </vt:lpstr>
      <vt:lpstr>What top priority programme areas and opportunities do you feel will be critical for VSO in the country/region?                 </vt:lpstr>
      <vt:lpstr>A case for A Disaster relief program  </vt:lpstr>
      <vt:lpstr>Useful resources for Disaster relief funding  “Nigeria/UN COVID-19 BASKET FUND”</vt:lpstr>
      <vt:lpstr> </vt:lpstr>
      <vt:lpstr>PowerPoint Presentation</vt:lpstr>
      <vt:lpstr>PowerPoint Presentation</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ntry Representative, Nigeria VSO Presentation</dc:title>
  <dc:subject>Country Representative, Nigeria VSO Test questions</dc:subject>
  <dc:creator>Sarah Kayongo</dc:creator>
  <cp:keywords/>
  <dc:description>06052020 Job interview</dc:description>
  <cp:lastModifiedBy>Owor, Robert S.</cp:lastModifiedBy>
  <cp:revision>451</cp:revision>
  <cp:lastPrinted>2020-06-05T04:52:35Z</cp:lastPrinted>
  <dcterms:created xsi:type="dcterms:W3CDTF">2017-09-19T21:07:29Z</dcterms:created>
  <dcterms:modified xsi:type="dcterms:W3CDTF">2025-03-17T21:22:42Z</dcterms:modified>
  <cp:category/>
</cp:coreProperties>
</file>